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30"/>
  </p:notesMasterIdLst>
  <p:sldIdLst>
    <p:sldId id="1280" r:id="rId6"/>
    <p:sldId id="1230" r:id="rId7"/>
    <p:sldId id="1231" r:id="rId8"/>
    <p:sldId id="1289" r:id="rId9"/>
    <p:sldId id="1293" r:id="rId10"/>
    <p:sldId id="1249" r:id="rId11"/>
    <p:sldId id="1250" r:id="rId12"/>
    <p:sldId id="1285" r:id="rId13"/>
    <p:sldId id="1222" r:id="rId14"/>
    <p:sldId id="271" r:id="rId15"/>
    <p:sldId id="1261" r:id="rId16"/>
    <p:sldId id="1286" r:id="rId17"/>
    <p:sldId id="274" r:id="rId18"/>
    <p:sldId id="1207" r:id="rId19"/>
    <p:sldId id="1246" r:id="rId20"/>
    <p:sldId id="1265" r:id="rId21"/>
    <p:sldId id="1224" r:id="rId22"/>
    <p:sldId id="1235" r:id="rId23"/>
    <p:sldId id="1291" r:id="rId24"/>
    <p:sldId id="1292" r:id="rId25"/>
    <p:sldId id="1193" r:id="rId26"/>
    <p:sldId id="286" r:id="rId27"/>
    <p:sldId id="261" r:id="rId28"/>
    <p:sldId id="262"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7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erhold, Ty" initials="AT" lastIdx="11" clrIdx="0">
    <p:extLst>
      <p:ext uri="{19B8F6BF-5375-455C-9EA6-DF929625EA0E}">
        <p15:presenceInfo xmlns:p15="http://schemas.microsoft.com/office/powerpoint/2012/main" userId="S::AderholM@advisory.com::1b73b6ea-c794-4b07-8115-e23de9ab530c" providerId="AD"/>
      </p:ext>
    </p:extLst>
  </p:cmAuthor>
  <p:cmAuthor id="2" name="Afshani, Sharareh" initials="AS" lastIdx="1" clrIdx="1">
    <p:extLst>
      <p:ext uri="{19B8F6BF-5375-455C-9EA6-DF929625EA0E}">
        <p15:presenceInfo xmlns:p15="http://schemas.microsoft.com/office/powerpoint/2012/main" userId="S::AfshaniS@advisory.com::425fd36d-6d3f-415a-abf2-2c45e1d835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620" autoAdjust="0"/>
  </p:normalViewPr>
  <p:slideViewPr>
    <p:cSldViewPr snapToGrid="0">
      <p:cViewPr varScale="1">
        <p:scale>
          <a:sx n="80" d="100"/>
          <a:sy n="80" d="100"/>
        </p:scale>
        <p:origin x="112" y="44"/>
      </p:cViewPr>
      <p:guideLst>
        <p:guide orient="horz" pos="2184"/>
        <p:guide pos="37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163914862204723"/>
          <c:y val="0"/>
          <c:w val="0.88292998258596422"/>
          <c:h val="0.82677587226380944"/>
        </c:manualLayout>
      </c:layout>
      <c:barChart>
        <c:barDir val="bar"/>
        <c:grouping val="clustered"/>
        <c:varyColors val="0"/>
        <c:ser>
          <c:idx val="0"/>
          <c:order val="0"/>
          <c:tx>
            <c:strRef>
              <c:f>Sheet1!$B$1</c:f>
              <c:strCache>
                <c:ptCount val="1"/>
                <c:pt idx="0">
                  <c:v>Series 1</c:v>
                </c:pt>
              </c:strCache>
            </c:strRef>
          </c:tx>
          <c:spPr>
            <a:solidFill>
              <a:srgbClr val="D6D9DA"/>
            </a:solidFill>
            <a:ln w="19050">
              <a:solidFill>
                <a:schemeClr val="bg1"/>
              </a:solidFill>
              <a:miter lim="800000"/>
            </a:ln>
            <a:effectLst/>
          </c:spPr>
          <c:invertIfNegative val="0"/>
          <c:dPt>
            <c:idx val="0"/>
            <c:invertIfNegative val="0"/>
            <c:bubble3D val="0"/>
            <c:spPr>
              <a:solidFill>
                <a:srgbClr val="7C99AE"/>
              </a:solidFill>
              <a:ln w="19050">
                <a:solidFill>
                  <a:srgbClr val="7C99AE"/>
                </a:solidFill>
                <a:miter lim="800000"/>
              </a:ln>
              <a:effectLst/>
            </c:spPr>
            <c:extLst>
              <c:ext xmlns:c16="http://schemas.microsoft.com/office/drawing/2014/chart" uri="{C3380CC4-5D6E-409C-BE32-E72D297353CC}">
                <c16:uniqueId val="{00000001-990B-4094-9888-1C524F2110F1}"/>
              </c:ext>
            </c:extLst>
          </c:dPt>
          <c:dPt>
            <c:idx val="1"/>
            <c:invertIfNegative val="0"/>
            <c:bubble3D val="0"/>
            <c:spPr>
              <a:solidFill>
                <a:srgbClr val="667E90"/>
              </a:solidFill>
              <a:ln w="19050">
                <a:solidFill>
                  <a:srgbClr val="667E90"/>
                </a:solidFill>
                <a:miter lim="800000"/>
              </a:ln>
              <a:effectLst/>
            </c:spPr>
            <c:extLst>
              <c:ext xmlns:c16="http://schemas.microsoft.com/office/drawing/2014/chart" uri="{C3380CC4-5D6E-409C-BE32-E72D297353CC}">
                <c16:uniqueId val="{00000001-0A8A-4D16-92DE-77F406800530}"/>
              </c:ext>
            </c:extLst>
          </c:dPt>
          <c:dPt>
            <c:idx val="2"/>
            <c:invertIfNegative val="0"/>
            <c:bubble3D val="0"/>
            <c:spPr>
              <a:solidFill>
                <a:srgbClr val="445460"/>
              </a:solidFill>
              <a:ln w="19050">
                <a:solidFill>
                  <a:srgbClr val="445460"/>
                </a:solidFill>
                <a:miter lim="800000"/>
              </a:ln>
              <a:effectLst/>
            </c:spPr>
            <c:extLst>
              <c:ext xmlns:c16="http://schemas.microsoft.com/office/drawing/2014/chart" uri="{C3380CC4-5D6E-409C-BE32-E72D297353CC}">
                <c16:uniqueId val="{00000003-0A8A-4D16-92DE-77F406800530}"/>
              </c:ext>
            </c:extLst>
          </c:dPt>
          <c:dPt>
            <c:idx val="3"/>
            <c:invertIfNegative val="0"/>
            <c:bubble3D val="0"/>
            <c:spPr>
              <a:solidFill>
                <a:srgbClr val="222A30"/>
              </a:solidFill>
              <a:ln w="19050">
                <a:solidFill>
                  <a:srgbClr val="222A30"/>
                </a:solidFill>
                <a:miter lim="800000"/>
              </a:ln>
              <a:effectLst/>
            </c:spPr>
            <c:extLst>
              <c:ext xmlns:c16="http://schemas.microsoft.com/office/drawing/2014/chart" uri="{C3380CC4-5D6E-409C-BE32-E72D297353CC}">
                <c16:uniqueId val="{00000005-0A8A-4D16-92DE-77F406800530}"/>
              </c:ext>
            </c:extLst>
          </c:dPt>
          <c:dLbls>
            <c:dLbl>
              <c:idx val="0"/>
              <c:layout>
                <c:manualLayout>
                  <c:x val="0"/>
                  <c:y val="-7.939322765803400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0B-4094-9888-1C524F2110F1}"/>
                </c:ext>
              </c:extLst>
            </c:dLbl>
            <c:dLbl>
              <c:idx val="1"/>
              <c:spPr>
                <a:noFill/>
                <a:ln>
                  <a:noFill/>
                </a:ln>
                <a:effectLst/>
              </c:spPr>
              <c:txPr>
                <a:bodyPr rot="0" spcFirstLastPara="1" vertOverflow="ellipsis" vert="horz" wrap="square" lIns="45720" tIns="0" rIns="45720" bIns="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8A-4D16-92DE-77F406800530}"/>
                </c:ext>
              </c:extLst>
            </c:dLbl>
            <c:spPr>
              <a:noFill/>
              <a:ln>
                <a:noFill/>
              </a:ln>
              <a:effectLst/>
            </c:spPr>
            <c:txPr>
              <a:bodyPr rot="0" spcFirstLastPara="1" vertOverflow="ellipsis" vert="horz" wrap="square" lIns="45720" tIns="0" rIns="45720" bIns="0" anchor="ctr" anchorCtr="0">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100,000-$200,000</c:v>
                </c:pt>
                <c:pt idx="1">
                  <c:v>$50,000-$99,999</c:v>
                </c:pt>
                <c:pt idx="2">
                  <c:v>$25,000-$49,999</c:v>
                </c:pt>
                <c:pt idx="3">
                  <c:v>Less than $25,000</c:v>
                </c:pt>
              </c:strCache>
            </c:strRef>
          </c:cat>
          <c:val>
            <c:numRef>
              <c:f>Sheet1!$B$2:$B$5</c:f>
              <c:numCache>
                <c:formatCode>0%</c:formatCode>
                <c:ptCount val="4"/>
                <c:pt idx="0">
                  <c:v>0.37</c:v>
                </c:pt>
                <c:pt idx="1">
                  <c:v>0.35799999999999998</c:v>
                </c:pt>
                <c:pt idx="2">
                  <c:v>0.32100000000000001</c:v>
                </c:pt>
                <c:pt idx="3">
                  <c:v>0.33100000000000002</c:v>
                </c:pt>
              </c:numCache>
            </c:numRef>
          </c:val>
          <c:extLst>
            <c:ext xmlns:c16="http://schemas.microsoft.com/office/drawing/2014/chart" uri="{C3380CC4-5D6E-409C-BE32-E72D297353CC}">
              <c16:uniqueId val="{00000008-0A8A-4D16-92DE-77F406800530}"/>
            </c:ext>
          </c:extLst>
        </c:ser>
        <c:dLbls>
          <c:dLblPos val="outEnd"/>
          <c:showLegendKey val="0"/>
          <c:showVal val="1"/>
          <c:showCatName val="0"/>
          <c:showSerName val="0"/>
          <c:showPercent val="0"/>
          <c:showBubbleSize val="0"/>
        </c:dLbls>
        <c:gapWidth val="100"/>
        <c:axId val="553888416"/>
        <c:axId val="553889400"/>
      </c:barChart>
      <c:catAx>
        <c:axId val="553888416"/>
        <c:scaling>
          <c:orientation val="minMax"/>
        </c:scaling>
        <c:delete val="1"/>
        <c:axPos val="l"/>
        <c:numFmt formatCode="General" sourceLinked="1"/>
        <c:majorTickMark val="none"/>
        <c:minorTickMark val="none"/>
        <c:tickLblPos val="nextTo"/>
        <c:crossAx val="553889400"/>
        <c:crosses val="autoZero"/>
        <c:auto val="1"/>
        <c:lblAlgn val="ctr"/>
        <c:lblOffset val="100"/>
        <c:noMultiLvlLbl val="0"/>
      </c:catAx>
      <c:valAx>
        <c:axId val="553889400"/>
        <c:scaling>
          <c:orientation val="minMax"/>
        </c:scaling>
        <c:delete val="1"/>
        <c:axPos val="b"/>
        <c:numFmt formatCode="0%" sourceLinked="1"/>
        <c:majorTickMark val="out"/>
        <c:minorTickMark val="none"/>
        <c:tickLblPos val="nextTo"/>
        <c:crossAx val="55388841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b="1">
                <a:solidFill>
                  <a:schemeClr val="accent5"/>
                </a:solidFill>
                <a:latin typeface="+mn-lt"/>
              </a:rPr>
              <a:t>Percentage by race worried about paying their</a:t>
            </a:r>
            <a:r>
              <a:rPr lang="en-US" sz="1600" b="1" baseline="0">
                <a:solidFill>
                  <a:schemeClr val="accent5"/>
                </a:solidFill>
                <a:latin typeface="+mn-lt"/>
              </a:rPr>
              <a:t> </a:t>
            </a:r>
            <a:r>
              <a:rPr lang="en-US" sz="1600" b="1">
                <a:solidFill>
                  <a:schemeClr val="accent5"/>
                </a:solidFill>
                <a:latin typeface="+mn-lt"/>
              </a:rPr>
              <a:t>broadband or cell phone bill</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roadband bill</c:v>
                </c:pt>
              </c:strCache>
            </c:strRef>
          </c:tx>
          <c:spPr>
            <a:solidFill>
              <a:schemeClr val="tx1">
                <a:lumMod val="60000"/>
                <a:lumOff val="40000"/>
              </a:schemeClr>
            </a:solidFill>
            <a:ln>
              <a:solidFill>
                <a:schemeClr val="accent2">
                  <a:alpha val="94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Black</c:v>
                </c:pt>
                <c:pt idx="2">
                  <c:v>Latino</c:v>
                </c:pt>
              </c:strCache>
            </c:strRef>
          </c:cat>
          <c:val>
            <c:numRef>
              <c:f>Sheet1!$B$2:$B$4</c:f>
              <c:numCache>
                <c:formatCode>General</c:formatCode>
                <c:ptCount val="3"/>
                <c:pt idx="0">
                  <c:v>21</c:v>
                </c:pt>
                <c:pt idx="1">
                  <c:v>36</c:v>
                </c:pt>
                <c:pt idx="2">
                  <c:v>54</c:v>
                </c:pt>
              </c:numCache>
            </c:numRef>
          </c:val>
          <c:extLst>
            <c:ext xmlns:c16="http://schemas.microsoft.com/office/drawing/2014/chart" uri="{C3380CC4-5D6E-409C-BE32-E72D297353CC}">
              <c16:uniqueId val="{00000000-1F88-42D3-998B-C4FCD3C0AC87}"/>
            </c:ext>
          </c:extLst>
        </c:ser>
        <c:ser>
          <c:idx val="1"/>
          <c:order val="1"/>
          <c:tx>
            <c:strRef>
              <c:f>Sheet1!$C$1</c:f>
              <c:strCache>
                <c:ptCount val="1"/>
                <c:pt idx="0">
                  <c:v>Cell phone bil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Black</c:v>
                </c:pt>
                <c:pt idx="2">
                  <c:v>Latino</c:v>
                </c:pt>
              </c:strCache>
            </c:strRef>
          </c:cat>
          <c:val>
            <c:numRef>
              <c:f>Sheet1!$C$2:$C$4</c:f>
              <c:numCache>
                <c:formatCode>General</c:formatCode>
                <c:ptCount val="3"/>
                <c:pt idx="0">
                  <c:v>22</c:v>
                </c:pt>
                <c:pt idx="1">
                  <c:v>39</c:v>
                </c:pt>
                <c:pt idx="2">
                  <c:v>56</c:v>
                </c:pt>
              </c:numCache>
            </c:numRef>
          </c:val>
          <c:extLst>
            <c:ext xmlns:c16="http://schemas.microsoft.com/office/drawing/2014/chart" uri="{C3380CC4-5D6E-409C-BE32-E72D297353CC}">
              <c16:uniqueId val="{00000001-1F88-42D3-998B-C4FCD3C0AC87}"/>
            </c:ext>
          </c:extLst>
        </c:ser>
        <c:dLbls>
          <c:dLblPos val="outEnd"/>
          <c:showLegendKey val="0"/>
          <c:showVal val="1"/>
          <c:showCatName val="0"/>
          <c:showSerName val="0"/>
          <c:showPercent val="0"/>
          <c:showBubbleSize val="0"/>
        </c:dLbls>
        <c:gapWidth val="219"/>
        <c:overlap val="-27"/>
        <c:axId val="1023991632"/>
        <c:axId val="1023998192"/>
      </c:barChart>
      <c:catAx>
        <c:axId val="102399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1" u="none" strike="noStrike" kern="1200" baseline="0">
                <a:solidFill>
                  <a:schemeClr val="accent5"/>
                </a:solidFill>
                <a:latin typeface="+mn-lt"/>
                <a:ea typeface="+mn-ea"/>
                <a:cs typeface="+mn-cs"/>
              </a:defRPr>
            </a:pPr>
            <a:endParaRPr lang="en-US"/>
          </a:p>
        </c:txPr>
        <c:crossAx val="1023998192"/>
        <c:crosses val="autoZero"/>
        <c:auto val="1"/>
        <c:lblAlgn val="ctr"/>
        <c:lblOffset val="100"/>
        <c:noMultiLvlLbl val="0"/>
      </c:catAx>
      <c:valAx>
        <c:axId val="1023998192"/>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023991632"/>
        <c:crosses val="autoZero"/>
        <c:crossBetween val="between"/>
      </c:valAx>
      <c:spPr>
        <a:noFill/>
        <a:ln w="25400">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accent5"/>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accent5"/>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accent5"/>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CD68B7A-F22D-493E-BA50-61B5FFEB3F4E}" type="datetimeFigureOut">
              <a:rPr lang="en-US" smtClean="0"/>
              <a:t>12/15/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1359AF9-9266-4B7E-8AB8-612E3254DEF9}" type="slidenum">
              <a:rPr lang="en-US" smtClean="0"/>
              <a:t>‹#›</a:t>
            </a:fld>
            <a:endParaRPr lang="en-US"/>
          </a:p>
        </p:txBody>
      </p:sp>
    </p:spTree>
    <p:extLst>
      <p:ext uri="{BB962C8B-B14F-4D97-AF65-F5344CB8AC3E}">
        <p14:creationId xmlns:p14="http://schemas.microsoft.com/office/powerpoint/2010/main" val="387410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a:buChar char="•"/>
            </a:pPr>
            <a:r>
              <a:rPr lang="en-US" sz="1000" dirty="0">
                <a:latin typeface="Arial"/>
                <a:cs typeface="Arial"/>
              </a:rPr>
              <a:t>Hello everyone, welcome to today's webinar “Digital inequity 101” – Your guide to understanding digital disparities </a:t>
            </a:r>
          </a:p>
          <a:p>
            <a:pPr marL="174708" indent="-174708">
              <a:buFont typeface="Arial"/>
              <a:buChar char="•"/>
            </a:pPr>
            <a:endParaRPr lang="en-US" sz="1000" dirty="0">
              <a:latin typeface="Arial"/>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1</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19020215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Even when internet connectivity becomes more ubiquitous, issues of affordability prevent patients from fully utilizing those resources.</a:t>
            </a:r>
          </a:p>
          <a:p>
            <a:pPr marL="631908" lvl="1" indent="-174708">
              <a:buFont typeface="Arial" panose="020B0604020202020204" pitchFamily="34" charset="0"/>
              <a:buChar char="•"/>
            </a:pPr>
            <a:r>
              <a:rPr lang="en-US" sz="1000" dirty="0">
                <a:latin typeface="Arial"/>
                <a:cs typeface="Arial"/>
              </a:rPr>
              <a:t>There are plenty of smart folks trying to overcome the problem of broadband access. Elon Musk for example has proposed building a network of low-orbit satellites to provide broadband anywhere. </a:t>
            </a:r>
          </a:p>
          <a:p>
            <a:pPr marL="631908" lvl="1" indent="-174708">
              <a:buFont typeface="Arial" panose="020B0604020202020204" pitchFamily="34" charset="0"/>
              <a:buChar char="•"/>
            </a:pPr>
            <a:r>
              <a:rPr lang="en-US" sz="1000" dirty="0">
                <a:latin typeface="Arial"/>
                <a:cs typeface="Arial"/>
              </a:rPr>
              <a:t>The problem is that Musk’s </a:t>
            </a:r>
            <a:r>
              <a:rPr lang="en-US" sz="1000" dirty="0" err="1">
                <a:latin typeface="Arial"/>
                <a:cs typeface="Arial"/>
              </a:rPr>
              <a:t>Starlink</a:t>
            </a:r>
            <a:r>
              <a:rPr lang="en-US" sz="1000" dirty="0">
                <a:latin typeface="Arial"/>
                <a:cs typeface="Arial"/>
              </a:rPr>
              <a:t> setup will cost 99 dollars a month. And that’s just not an option for many people. </a:t>
            </a:r>
          </a:p>
          <a:p>
            <a:pPr marL="631908" lvl="1" indent="-174708">
              <a:buFont typeface="Arial" panose="020B0604020202020204" pitchFamily="34" charset="0"/>
              <a:buChar char="•"/>
            </a:pPr>
            <a:r>
              <a:rPr lang="en-US" sz="1000" dirty="0">
                <a:latin typeface="Arial"/>
                <a:cs typeface="Arial"/>
              </a:rPr>
              <a:t>There are programs that offer subsidized access to relatively inexpensive data and minutes to qualifying families. The federal Lifeline program does this. But there are limits on what these programs can do, and they put patients in a position to make potentially difficult tradeoffs about how to allocate their resources. </a:t>
            </a:r>
            <a:endParaRPr lang="en-US" sz="1000" dirty="0">
              <a:cs typeface="Arial"/>
            </a:endParaRPr>
          </a:p>
          <a:p>
            <a:pPr marL="631908" lvl="1" indent="-174708">
              <a:buFont typeface="Arial" panose="020B0604020202020204" pitchFamily="34" charset="0"/>
              <a:buChar char="•"/>
            </a:pPr>
            <a:r>
              <a:rPr lang="en-US" sz="1000" dirty="0">
                <a:latin typeface="Arial"/>
                <a:cs typeface="Arial"/>
              </a:rPr>
              <a:t>We know from conversations with plan leaders that many patients simply don’t want to use their data or cell minutes for care management interactions – The Washington Post recently released a heartbreaking piece about a patient who couldn’t conduct a telephone visit with her psychologist because she had used her minutes planning her brother’s funeral after he died from Covid-19. </a:t>
            </a:r>
            <a:endParaRPr lang="en-US" sz="1000" dirty="0">
              <a:cs typeface="Arial"/>
            </a:endParaRPr>
          </a:p>
          <a:p>
            <a:pPr marL="174708" indent="-174708">
              <a:buFontTx/>
              <a:buChar char="-"/>
            </a:pPr>
            <a:r>
              <a:rPr lang="en-US" sz="1000" i="1" u="sng" dirty="0">
                <a:cs typeface="Arial"/>
              </a:rPr>
              <a:t>Transition: </a:t>
            </a:r>
            <a:r>
              <a:rPr lang="en-US" sz="1000" i="1" dirty="0">
                <a:cs typeface="Arial"/>
              </a:rPr>
              <a:t>So clearly there is concern and work to be done here.</a:t>
            </a:r>
          </a:p>
          <a:p>
            <a:pPr marL="174708" indent="-174708">
              <a:buFontTx/>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7FF24B80-FBB1-4894-9C1C-0E4C2627BD38}" type="slidenum">
              <a:rPr lang="en-US">
                <a:solidFill>
                  <a:srgbClr val="323E48"/>
                </a:solidFill>
                <a:latin typeface="Arial" panose="020B0604020202020204" pitchFamily="34" charset="0"/>
              </a:rPr>
              <a:pPr defTabSz="931774">
                <a:defRPr/>
              </a:pPr>
              <a:t>10</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932448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dirty="0"/>
              <a:t>Health care organizations can not solve digital inequity on their own. Policymakers are another stakeholder who have the power and influence to reduce disparities in access and affordability.</a:t>
            </a:r>
          </a:p>
          <a:p>
            <a:pPr marL="628650" lvl="1" indent="-171450">
              <a:buFont typeface="Arial" panose="020B0604020202020204" pitchFamily="34" charset="0"/>
              <a:buChar char="•"/>
            </a:pPr>
            <a:r>
              <a:rPr lang="en-US" sz="1000" dirty="0"/>
              <a:t>Fortunately, policy makers are cognizant of this issue of affordability .</a:t>
            </a:r>
          </a:p>
          <a:p>
            <a:pPr marL="1085850" lvl="2" indent="-171450">
              <a:buFont typeface="Arial" panose="020B0604020202020204" pitchFamily="34" charset="0"/>
              <a:buChar char="•"/>
            </a:pPr>
            <a:r>
              <a:rPr lang="en-US" sz="1000" dirty="0"/>
              <a:t>If you look at the Biden Administration’s infrastructure proposal, it specifically calls out a goal of reducing the cost of broadband services to promote widespread adoption</a:t>
            </a:r>
          </a:p>
          <a:p>
            <a:pPr marL="1085850" lvl="2" indent="-171450">
              <a:buFont typeface="Arial" panose="020B0604020202020204" pitchFamily="34" charset="0"/>
              <a:buChar char="•"/>
            </a:pPr>
            <a:r>
              <a:rPr lang="en-US" sz="1000" dirty="0"/>
              <a:t>One tactic it highlights for doing so is increasing competition among internet service providers by encouraging municipal broadband efforts</a:t>
            </a:r>
          </a:p>
          <a:p>
            <a:pPr marL="631908" lvl="1" indent="-174708">
              <a:buFont typeface="Arial" panose="020B0604020202020204" pitchFamily="34" charset="0"/>
              <a:buChar char="•"/>
            </a:pPr>
            <a:r>
              <a:rPr lang="en-US" sz="1000" dirty="0"/>
              <a:t>This appears promising, and it helps again to reiterate a key fact: we know that health care organizations themselves cannot do everything to address access and affordability in this realm </a:t>
            </a:r>
          </a:p>
          <a:p>
            <a:pPr marL="1089108" lvl="2" indent="-174708">
              <a:buFont typeface="Arial" panose="020B0604020202020204" pitchFamily="34" charset="0"/>
              <a:buChar char="•"/>
            </a:pPr>
            <a:r>
              <a:rPr lang="en-US" sz="1000" dirty="0"/>
              <a:t>This is a much larger, systemic issue that requires an infrastructure-led approach. What is important is to stay aware of these developments in the policy and administrative arena, and to measure how digital inequities surface in your communities so that you can have a better sense of what to address in the future. </a:t>
            </a:r>
          </a:p>
          <a:p>
            <a:pPr marL="174708" lvl="0" indent="-174708">
              <a:buFont typeface="Arial" panose="020B0604020202020204" pitchFamily="34" charset="0"/>
              <a:buChar char="•"/>
            </a:pPr>
            <a:r>
              <a:rPr lang="en-US" sz="1000" i="1" u="sng" dirty="0"/>
              <a:t>Transition: </a:t>
            </a:r>
            <a:r>
              <a:rPr lang="en-US" sz="1000" i="1" dirty="0"/>
              <a:t>This doesn’t paint a full picture though.</a:t>
            </a:r>
          </a:p>
          <a:p>
            <a:endParaRPr lang="en-US" sz="1000" strike="sngStrike" dirty="0"/>
          </a:p>
          <a:p>
            <a:endParaRPr lang="en-US" sz="1000" dirty="0">
              <a:latin typeface="Calibri"/>
              <a:cs typeface="Calibri"/>
            </a:endParaRPr>
          </a:p>
        </p:txBody>
      </p:sp>
      <p:sp>
        <p:nvSpPr>
          <p:cNvPr id="4" name="Slide Number Placeholder 3"/>
          <p:cNvSpPr>
            <a:spLocks noGrp="1"/>
          </p:cNvSpPr>
          <p:nvPr>
            <p:ph type="sldNum" sz="quarter" idx="5"/>
          </p:nvPr>
        </p:nvSpPr>
        <p:spPr/>
        <p:txBody>
          <a:bodyPr/>
          <a:lstStyle/>
          <a:p>
            <a:fld id="{0E79F9C1-6A3C-4B55-8C89-00C0FB1E22C3}" type="slidenum">
              <a:rPr lang="en-US" smtClean="0"/>
              <a:pPr/>
              <a:t>11</a:t>
            </a:fld>
            <a:endParaRPr lang="en-US"/>
          </a:p>
        </p:txBody>
      </p:sp>
    </p:spTree>
    <p:extLst>
      <p:ext uri="{BB962C8B-B14F-4D97-AF65-F5344CB8AC3E}">
        <p14:creationId xmlns:p14="http://schemas.microsoft.com/office/powerpoint/2010/main" val="327756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Adoption is the other half of digital inequity that must be addressed to reduce disparities.</a:t>
            </a:r>
          </a:p>
          <a:p>
            <a:pPr marL="631908" lvl="1" indent="-174708">
              <a:buFont typeface="Arial" panose="020B0604020202020204" pitchFamily="34" charset="0"/>
              <a:buChar char="•"/>
            </a:pPr>
            <a:r>
              <a:rPr lang="en-US" sz="1000" dirty="0">
                <a:latin typeface="Arial"/>
                <a:cs typeface="Arial"/>
              </a:rPr>
              <a:t>As we’ve seen, device access and connectivity are truly vital, foundational elements of digital inequity. But that is also only part of the problem. </a:t>
            </a:r>
          </a:p>
          <a:p>
            <a:pPr marL="631908" lvl="1" indent="-174708">
              <a:buFont typeface="Arial" panose="020B0604020202020204" pitchFamily="34" charset="0"/>
              <a:buChar char="•"/>
            </a:pPr>
            <a:r>
              <a:rPr lang="en-US" sz="1000" dirty="0">
                <a:latin typeface="Arial"/>
                <a:cs typeface="Arial"/>
              </a:rPr>
              <a:t>Digital literacy and the accessibility of services are the other critical components to this equation </a:t>
            </a:r>
          </a:p>
          <a:p>
            <a:pPr marL="631908" lvl="1" indent="-174708">
              <a:buFont typeface="Arial" panose="020B0604020202020204" pitchFamily="34" charset="0"/>
              <a:buChar char="•"/>
            </a:pPr>
            <a:r>
              <a:rPr lang="en-US" sz="1000" dirty="0">
                <a:latin typeface="Arial"/>
                <a:cs typeface="Arial"/>
              </a:rPr>
              <a:t>It’s important here to stress the distinction between access and accessibility – Providing a connection or a device is one thing (access), but ensuring a patient has the skills, the confidence, and the ability to use that technology is something else (accessibility).</a:t>
            </a:r>
          </a:p>
          <a:p>
            <a:pPr marL="174708"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Let’s look into this other half of the equation.</a:t>
            </a:r>
          </a:p>
          <a:p>
            <a:pPr marL="174708" indent="-174708">
              <a:buFont typeface="Arial"/>
              <a:buChar char="•"/>
              <a:defRPr/>
            </a:pPr>
            <a:endParaRPr lang="en-US" sz="1000" dirty="0">
              <a:latin typeface="Arial"/>
              <a:cs typeface="Arial"/>
            </a:endParaRPr>
          </a:p>
          <a:p>
            <a:pPr>
              <a:defRPr/>
            </a:pPr>
            <a:endParaRPr lang="en-US" sz="1000" dirty="0">
              <a:cs typeface="Arial"/>
            </a:endParaRPr>
          </a:p>
          <a:p>
            <a:pPr marL="174708" indent="-174708">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12</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1907965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lvl="0" indent="-174708">
              <a:buFont typeface="Arial" panose="020B0604020202020204" pitchFamily="34" charset="0"/>
              <a:buChar char="•"/>
            </a:pPr>
            <a:r>
              <a:rPr lang="en-US" sz="1000" b="1" dirty="0">
                <a:latin typeface="Arial"/>
                <a:cs typeface="Arial"/>
              </a:rPr>
              <a:t>Digital literacy is a clearly defined skill that many patients struggle to use and develop in digital health interactions.</a:t>
            </a:r>
          </a:p>
          <a:p>
            <a:pPr marL="631908" lvl="1" indent="-174708">
              <a:buFont typeface="Arial" panose="020B0604020202020204" pitchFamily="34" charset="0"/>
              <a:buChar char="•"/>
            </a:pPr>
            <a:r>
              <a:rPr lang="en-US" sz="1000" dirty="0">
                <a:latin typeface="Arial"/>
                <a:cs typeface="Arial"/>
              </a:rPr>
              <a:t>Much like the term digital inequity, digital literacy has various components to parse out. </a:t>
            </a:r>
            <a:endParaRPr lang="en-US" sz="1000" dirty="0"/>
          </a:p>
          <a:p>
            <a:pPr marL="631908" lvl="1" indent="-174708">
              <a:buFont typeface="Arial" panose="020B0604020202020204" pitchFamily="34" charset="0"/>
              <a:buChar char="•"/>
            </a:pPr>
            <a:r>
              <a:rPr lang="en-US" sz="1000" dirty="0">
                <a:latin typeface="Arial"/>
                <a:cs typeface="Arial"/>
              </a:rPr>
              <a:t>On the left, we’ve included the American Library Association’s definition, which highlights the need for cognitive and technical skills to use technology to find, evaluate, create and communicate information.</a:t>
            </a:r>
          </a:p>
          <a:p>
            <a:pPr marL="631908" lvl="1" indent="-174708">
              <a:buFont typeface="Arial" panose="020B0604020202020204" pitchFamily="34" charset="0"/>
              <a:buChar char="•"/>
            </a:pPr>
            <a:r>
              <a:rPr lang="en-US" sz="1000" dirty="0">
                <a:latin typeface="Arial"/>
                <a:cs typeface="Arial"/>
              </a:rPr>
              <a:t>Much like the other challenges we've mentioned so far, this matter of digital literacy is pervasive: A study from the Pew Research Center found that about one-third of adults who are predominantly offline feel like the internet is “too difficult to use.” </a:t>
            </a:r>
          </a:p>
          <a:p>
            <a:pPr marL="631908" lvl="1" indent="-174708">
              <a:buFont typeface="Arial" panose="020B0604020202020204" pitchFamily="34" charset="0"/>
              <a:buChar char="•"/>
            </a:pPr>
            <a:r>
              <a:rPr lang="en-US" sz="1000" dirty="0">
                <a:latin typeface="Arial"/>
                <a:cs typeface="Arial"/>
              </a:rPr>
              <a:t>Physicians understand this problem intuitively. A survey from the Covid-19 Healthcare Coalition found that 61 percent of physicians identify digital literacy as the second highest barrier to patients using telehealth, second only to access to technology, at 69 percent. </a:t>
            </a:r>
          </a:p>
          <a:p>
            <a:pPr marL="174708"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It’s important to note that there is a distinction between terms “digital literacy” and “digital health literacy”</a:t>
            </a:r>
          </a:p>
          <a:p>
            <a:pPr marL="174708" indent="-174708">
              <a:buFont typeface="Arial" panose="020B0604020202020204" pitchFamily="34" charset="0"/>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13</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17703277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Digital literacy and digital health literacy highlight similar problems, just in different scopes and settings</a:t>
            </a:r>
          </a:p>
          <a:p>
            <a:pPr marL="631908" lvl="1" indent="-174708">
              <a:buFont typeface="Arial" panose="020B0604020202020204" pitchFamily="34" charset="0"/>
              <a:buChar char="•"/>
            </a:pPr>
            <a:r>
              <a:rPr lang="en-US" sz="1000" dirty="0">
                <a:latin typeface="Arial"/>
                <a:cs typeface="Arial"/>
              </a:rPr>
              <a:t>As defined in the previous slide, digital literacy encompasses a lot of topics or functions applied broadly to most forms of technology. This includes skills like information searches, functional skills, and being able to communicate effectively</a:t>
            </a:r>
          </a:p>
          <a:p>
            <a:pPr marL="631908" lvl="1" indent="-174708">
              <a:buFont typeface="Arial" panose="020B0604020202020204" pitchFamily="34" charset="0"/>
              <a:buChar char="•"/>
            </a:pPr>
            <a:r>
              <a:rPr lang="en-US" sz="1000" dirty="0">
                <a:latin typeface="Arial"/>
                <a:cs typeface="Arial"/>
              </a:rPr>
              <a:t>These topics and functions can also apply more specifically to digital health, as it pertains to patients searching for symptom or disease information, scheduling visits, logging into a portal, managing their prescriptions online, or participating in telehealth appointments. </a:t>
            </a:r>
            <a:endParaRPr lang="en-US" sz="1000" dirty="0"/>
          </a:p>
          <a:p>
            <a:pPr marL="174708" indent="-174708">
              <a:buFont typeface="Arial" panose="020B0604020202020204" pitchFamily="34" charset="0"/>
              <a:buChar char="•"/>
            </a:pPr>
            <a:r>
              <a:rPr lang="en-US" sz="1000" u="sng" dirty="0">
                <a:latin typeface="Arial"/>
                <a:cs typeface="Arial"/>
              </a:rPr>
              <a:t> </a:t>
            </a:r>
            <a:r>
              <a:rPr lang="en-US" sz="1000" i="1" u="sng" dirty="0">
                <a:latin typeface="Arial"/>
                <a:cs typeface="Arial"/>
              </a:rPr>
              <a:t>Transition: </a:t>
            </a:r>
            <a:r>
              <a:rPr lang="en-US" sz="1000" i="1" dirty="0">
                <a:latin typeface="Arial"/>
                <a:cs typeface="Arial"/>
              </a:rPr>
              <a:t>Similar to how digital inequity has various influences, digital literacy also has contributing factors.</a:t>
            </a:r>
            <a:endParaRPr lang="en-US" sz="1000" dirty="0">
              <a:latin typeface="Arial"/>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14</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3158209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dirty="0">
                <a:latin typeface="Arial"/>
                <a:cs typeface="Arial"/>
              </a:rPr>
              <a:t>A critical component of digital literacy includes language proficiency and flexibility</a:t>
            </a:r>
            <a:r>
              <a:rPr lang="en-US" sz="1000" dirty="0">
                <a:latin typeface="Arial"/>
                <a:cs typeface="Arial"/>
              </a:rPr>
              <a:t>.</a:t>
            </a:r>
          </a:p>
          <a:p>
            <a:pPr marL="631908" lvl="1" indent="-174708">
              <a:buFont typeface="Arial" panose="020B0604020202020204" pitchFamily="34" charset="0"/>
              <a:buChar char="•"/>
            </a:pPr>
            <a:r>
              <a:rPr lang="en-US" sz="1000" dirty="0">
                <a:latin typeface="Arial"/>
                <a:cs typeface="Arial"/>
              </a:rPr>
              <a:t>We had a record number of people in the U.S. who reported speaking a primary language other than English in 2018 </a:t>
            </a:r>
          </a:p>
          <a:p>
            <a:pPr marL="1089108" lvl="2" indent="-174708">
              <a:buFont typeface="Arial" panose="020B0604020202020204" pitchFamily="34" charset="0"/>
              <a:buChar char="•"/>
            </a:pPr>
            <a:r>
              <a:rPr lang="en-US" sz="1000" dirty="0">
                <a:latin typeface="Arial"/>
                <a:cs typeface="Arial"/>
              </a:rPr>
              <a:t>That’s about 20 percent of the total U.S. population. Of those individuals, nearly two out of every five report that they speak English “less than very well.”</a:t>
            </a:r>
          </a:p>
          <a:p>
            <a:pPr marL="631908" lvl="1" indent="-174708">
              <a:buFont typeface="Arial" panose="020B0604020202020204" pitchFamily="34" charset="0"/>
              <a:buChar char="•"/>
            </a:pPr>
            <a:r>
              <a:rPr lang="en-US" sz="1000" dirty="0">
                <a:latin typeface="Arial"/>
                <a:cs typeface="Arial"/>
              </a:rPr>
              <a:t>Looking specifically at digital literacy issues, half of native Spanish speakers say that digital literacy training would help “a lot" in making important decisions – and in terms of this survey "a lot" is the highest level of reported need. </a:t>
            </a:r>
          </a:p>
          <a:p>
            <a:pPr marL="174708"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How does this translate into problems for virtual care?</a:t>
            </a:r>
          </a:p>
          <a:p>
            <a:pPr marL="174708" indent="-174708">
              <a:buFont typeface="Arial" panose="020B0604020202020204" pitchFamily="34" charset="0"/>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15</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2601573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Flexibility for digital tools has in large part </a:t>
            </a:r>
            <a:r>
              <a:rPr lang="en-US" sz="1000" b="1" i="1" dirty="0">
                <a:latin typeface="Arial"/>
                <a:cs typeface="Arial"/>
              </a:rPr>
              <a:t>not </a:t>
            </a:r>
            <a:r>
              <a:rPr lang="en-US" sz="1000" b="1" dirty="0">
                <a:latin typeface="Arial"/>
                <a:cs typeface="Arial"/>
              </a:rPr>
              <a:t>been a facet of technology and care delivery. In fact, when we look at the digital limitations that Limited English Proficiency patients face, they’re considerable: </a:t>
            </a:r>
          </a:p>
          <a:p>
            <a:pPr marL="640594" lvl="1" indent="-174708">
              <a:buFont typeface="Arial" panose="020B0604020202020204" pitchFamily="34" charset="0"/>
              <a:buChar char="•"/>
            </a:pPr>
            <a:r>
              <a:rPr lang="en-US" sz="1000" dirty="0">
                <a:latin typeface="Arial"/>
                <a:cs typeface="Arial"/>
              </a:rPr>
              <a:t>Think about the challenges of navigating provider websites and patient portals in a non-native language</a:t>
            </a:r>
          </a:p>
          <a:p>
            <a:pPr marL="640594" lvl="1" indent="-174708">
              <a:buFont typeface="Arial" panose="020B0604020202020204" pitchFamily="34" charset="0"/>
              <a:buChar char="•"/>
            </a:pPr>
            <a:r>
              <a:rPr lang="en-US" sz="1000" dirty="0">
                <a:latin typeface="Arial"/>
                <a:cs typeface="Arial"/>
              </a:rPr>
              <a:t>There are issues of lower medication adherence because patients are unable to easily search for their medication, side effects, and dosage </a:t>
            </a:r>
          </a:p>
          <a:p>
            <a:pPr marL="640594" lvl="1" indent="-174708">
              <a:buFont typeface="Arial" panose="020B0604020202020204" pitchFamily="34" charset="0"/>
              <a:buChar char="•"/>
            </a:pPr>
            <a:r>
              <a:rPr lang="en-US" sz="1000" dirty="0">
                <a:latin typeface="Arial"/>
                <a:cs typeface="Arial"/>
              </a:rPr>
              <a:t>Patients also struggle during telephone and video visits – prior to Covid, interpreters were not top-of-mind for virtual visits. And even in the crux of the pandemic, this technology and integration was not easily scalable for many providers. </a:t>
            </a:r>
          </a:p>
          <a:p>
            <a:pPr marL="640594" lvl="1" indent="-174708">
              <a:buFont typeface="Arial" panose="020B0604020202020204" pitchFamily="34" charset="0"/>
              <a:buChar char="•"/>
            </a:pPr>
            <a:r>
              <a:rPr lang="en-US" sz="1000" dirty="0">
                <a:latin typeface="Arial"/>
                <a:cs typeface="Arial"/>
              </a:rPr>
              <a:t>Even things like texts and appointment reminders are a problem when patients are receiving them in a language that’s unfamiliar to them. This serves as yet another barrier to care. </a:t>
            </a:r>
          </a:p>
          <a:p>
            <a:pPr marL="640594" lvl="1" indent="-174708">
              <a:buFont typeface="Arial" panose="020B0604020202020204" pitchFamily="34" charset="0"/>
              <a:buChar char="•"/>
            </a:pPr>
            <a:r>
              <a:rPr lang="en-US" sz="1000" dirty="0">
                <a:latin typeface="Arial"/>
                <a:cs typeface="Arial"/>
              </a:rPr>
              <a:t>The reality is that language barriers are not new. A </a:t>
            </a:r>
            <a:r>
              <a:rPr lang="en-US" sz="1000" i="1" dirty="0">
                <a:latin typeface="Arial"/>
                <a:cs typeface="Arial"/>
              </a:rPr>
              <a:t>Verge </a:t>
            </a:r>
            <a:r>
              <a:rPr lang="en-US" sz="1000" dirty="0">
                <a:latin typeface="Arial"/>
                <a:cs typeface="Arial"/>
              </a:rPr>
              <a:t>article that is linked on this slide highlights the steep challenges non-English speakers face in health care, and a quote is pulled from a health technology equity researcher at Brigham and Women’s Hospital in Boston that highlights how virtual care tools were not built with limited-</a:t>
            </a:r>
            <a:r>
              <a:rPr lang="en-US" sz="1000" dirty="0" err="1">
                <a:latin typeface="Arial"/>
                <a:cs typeface="Arial"/>
              </a:rPr>
              <a:t>english</a:t>
            </a:r>
            <a:r>
              <a:rPr lang="en-US" sz="1000" dirty="0">
                <a:latin typeface="Arial"/>
                <a:cs typeface="Arial"/>
              </a:rPr>
              <a:t> speakers in mind, and so now that we've seen Covid push virtual to become more of a standard practice, we have begun to see all the people who aren’t able to access such platforms.</a:t>
            </a:r>
          </a:p>
          <a:p>
            <a:pPr marL="183394"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While there are definitely solutions to address this issues, some solutions are simply not viable.</a:t>
            </a:r>
          </a:p>
          <a:p>
            <a:pPr marL="174708" indent="-174708">
              <a:buFont typeface="Arial" panose="020B0604020202020204" pitchFamily="34" charset="0"/>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16</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36116038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It’s important to caution against quick or cheap workarounds because the problem of inaccurate translations can create major misunderstandings</a:t>
            </a:r>
          </a:p>
          <a:p>
            <a:pPr marL="631908" lvl="1" indent="-174708">
              <a:buFont typeface="Arial" panose="020B0604020202020204" pitchFamily="34" charset="0"/>
              <a:buChar char="•"/>
            </a:pPr>
            <a:r>
              <a:rPr lang="en-US" sz="1000" dirty="0">
                <a:latin typeface="Arial"/>
                <a:cs typeface="Arial"/>
              </a:rPr>
              <a:t>The example on this slide comes from the Virginia Department of Health - Their Covid-19 vaccine FAQ page translated a question about the vaccine in a way that, while perhaps correct for a dictionary-based translation, was ripe for potential misinterpretation</a:t>
            </a:r>
          </a:p>
          <a:p>
            <a:pPr marL="631908" lvl="1" indent="-174708">
              <a:buFont typeface="Arial"/>
              <a:buChar char="•"/>
            </a:pPr>
            <a:r>
              <a:rPr lang="en-US" sz="1000" dirty="0">
                <a:latin typeface="Arial"/>
                <a:cs typeface="Arial"/>
              </a:rPr>
              <a:t>Here they had meant to say that the vaccine was not required, as in legally not required, but they wound up saying that the vaccine was not necessary. </a:t>
            </a:r>
          </a:p>
          <a:p>
            <a:pPr marL="631908" lvl="1" indent="-174708">
              <a:buFont typeface="Arial" panose="020B0604020202020204" pitchFamily="34" charset="0"/>
              <a:buChar char="•"/>
            </a:pPr>
            <a:r>
              <a:rPr lang="en-US" sz="1000" dirty="0">
                <a:latin typeface="Arial"/>
                <a:cs typeface="Arial"/>
              </a:rPr>
              <a:t>The clarification that was eventually posted on the website is more accurate. </a:t>
            </a:r>
            <a:endParaRPr lang="en-US" sz="1000" dirty="0">
              <a:cs typeface="Arial"/>
            </a:endParaRPr>
          </a:p>
          <a:p>
            <a:pPr marL="631908" lvl="1" indent="-174708">
              <a:buFont typeface="Arial" panose="020B0604020202020204" pitchFamily="34" charset="0"/>
              <a:buChar char="•"/>
            </a:pPr>
            <a:r>
              <a:rPr lang="en-US" sz="1000" dirty="0">
                <a:latin typeface="Arial"/>
                <a:cs typeface="Arial"/>
              </a:rPr>
              <a:t>The culprit here was both an overreliance on Google’s Translate tool and a lack of sensitivity to language and cultural literacy. </a:t>
            </a:r>
          </a:p>
          <a:p>
            <a:pPr marL="174708"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While language barriers definitely play a large part in creating barriers for digital literacy, other factors are still at play.</a:t>
            </a:r>
          </a:p>
          <a:p>
            <a:pPr>
              <a:spcBef>
                <a:spcPts val="611"/>
              </a:spcBef>
            </a:pPr>
            <a:endParaRPr lang="en-US" sz="1000" dirty="0">
              <a:cs typeface="Arial"/>
            </a:endParaRPr>
          </a:p>
        </p:txBody>
      </p:sp>
      <p:sp>
        <p:nvSpPr>
          <p:cNvPr id="4" name="Slide Number Placeholder 3"/>
          <p:cNvSpPr>
            <a:spLocks noGrp="1"/>
          </p:cNvSpPr>
          <p:nvPr>
            <p:ph type="sldNum" sz="quarter" idx="5"/>
          </p:nvPr>
        </p:nvSpPr>
        <p:spPr/>
        <p:txBody>
          <a:bodyPr/>
          <a:lstStyle/>
          <a:p>
            <a:fld id="{0E79F9C1-6A3C-4B55-8C89-00C0FB1E22C3}" type="slidenum">
              <a:rPr lang="en-US" smtClean="0"/>
              <a:pPr/>
              <a:t>17</a:t>
            </a:fld>
            <a:endParaRPr lang="en-US"/>
          </a:p>
        </p:txBody>
      </p:sp>
    </p:spTree>
    <p:extLst>
      <p:ext uri="{BB962C8B-B14F-4D97-AF65-F5344CB8AC3E}">
        <p14:creationId xmlns:p14="http://schemas.microsoft.com/office/powerpoint/2010/main" val="14312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lvl="0" indent="-174708">
              <a:buFont typeface="Arial" panose="020B0604020202020204" pitchFamily="34" charset="0"/>
              <a:buChar char="•"/>
            </a:pPr>
            <a:r>
              <a:rPr lang="en-US" sz="1000" b="1" dirty="0">
                <a:latin typeface="Arial"/>
                <a:cs typeface="Arial"/>
              </a:rPr>
              <a:t>Digital accessibility should be viewed with a holistic perspective that incorporates culture and other necessary accommodations.</a:t>
            </a:r>
          </a:p>
          <a:p>
            <a:pPr marL="631908" lvl="1" indent="-174708">
              <a:buFont typeface="Arial" panose="020B0604020202020204" pitchFamily="34" charset="0"/>
              <a:buChar char="•"/>
            </a:pPr>
            <a:r>
              <a:rPr lang="en-US" sz="1000" dirty="0">
                <a:latin typeface="Arial"/>
                <a:cs typeface="Arial"/>
              </a:rPr>
              <a:t>It’s important to pay attention to cultural sensitivity to understand all the needs a patient might be facing</a:t>
            </a:r>
          </a:p>
          <a:p>
            <a:pPr marL="1089108" lvl="2" indent="-174708">
              <a:buFont typeface="Arial" panose="020B0604020202020204" pitchFamily="34" charset="0"/>
              <a:buChar char="•"/>
            </a:pPr>
            <a:r>
              <a:rPr lang="en-US" sz="1000" dirty="0">
                <a:latin typeface="Arial"/>
                <a:cs typeface="Arial"/>
              </a:rPr>
              <a:t>Alongside translation capabilities, providers and organizations need to also approach digital equity from a sociocultural perspective, as well as through inclusive user experience design</a:t>
            </a:r>
          </a:p>
          <a:p>
            <a:pPr marL="1546308" lvl="3" indent="-174708">
              <a:buFont typeface="Arial" panose="020B0604020202020204" pitchFamily="34" charset="0"/>
              <a:buChar char="•"/>
            </a:pPr>
            <a:r>
              <a:rPr lang="en-US" sz="1000" dirty="0">
                <a:latin typeface="Arial"/>
                <a:cs typeface="Arial"/>
              </a:rPr>
              <a:t>This can include cultural competency considerations in language services</a:t>
            </a:r>
          </a:p>
          <a:p>
            <a:pPr marL="1089108" lvl="2" indent="-174708">
              <a:buFont typeface="Arial" panose="020B0604020202020204" pitchFamily="34" charset="0"/>
              <a:buChar char="•"/>
            </a:pPr>
            <a:r>
              <a:rPr lang="en-US" sz="1000" dirty="0">
                <a:cs typeface="Arial"/>
              </a:rPr>
              <a:t>Visual or audio accessibility accommodations are important to think about as well </a:t>
            </a:r>
          </a:p>
          <a:p>
            <a:pPr marL="1089108" lvl="2" indent="-174708">
              <a:buFont typeface="Arial" panose="020B0604020202020204" pitchFamily="34" charset="0"/>
              <a:buChar char="•"/>
            </a:pPr>
            <a:r>
              <a:rPr lang="en-US" sz="1000" dirty="0">
                <a:cs typeface="Arial"/>
              </a:rPr>
              <a:t>All of this can be baked into an inclusive, patient-focused user experience that allows for flexibility and a holistic digital care experience</a:t>
            </a:r>
          </a:p>
          <a:p>
            <a:pPr marL="631908" lvl="1" indent="-174708">
              <a:buFont typeface="Arial" panose="020B0604020202020204" pitchFamily="34" charset="0"/>
              <a:buChar char="•"/>
            </a:pPr>
            <a:r>
              <a:rPr lang="en-US" sz="1000" dirty="0">
                <a:cs typeface="Arial"/>
              </a:rPr>
              <a:t>Patients should be able to ask themselves – ‘Did I really experience being seen and understood as a whole person?’</a:t>
            </a:r>
          </a:p>
          <a:p>
            <a:pPr marL="174708" lvl="0" indent="-174708">
              <a:buFont typeface="Arial" panose="020B0604020202020204" pitchFamily="34" charset="0"/>
              <a:buChar char="•"/>
            </a:pPr>
            <a:r>
              <a:rPr lang="en-US" sz="1000" i="1" u="sng" dirty="0">
                <a:cs typeface="Arial"/>
              </a:rPr>
              <a:t>Transition: </a:t>
            </a:r>
            <a:r>
              <a:rPr lang="en-US" sz="1000" i="1" dirty="0">
                <a:cs typeface="Arial"/>
              </a:rPr>
              <a:t>It’s clear how multifactorial the causes of digital inequity can be, and digital inequity itself can be a cause for further disparities in digital health.</a:t>
            </a:r>
          </a:p>
          <a:p>
            <a:pPr marL="174708" indent="-174708">
              <a:buFont typeface="Arial" panose="020B0604020202020204" pitchFamily="34" charset="0"/>
              <a:buChar char="•"/>
            </a:pPr>
            <a:endParaRPr lang="en-US" sz="1000" dirty="0">
              <a:cs typeface="Arial"/>
            </a:endParaRPr>
          </a:p>
          <a:p>
            <a:pPr marL="174708" indent="-174708">
              <a:buFont typeface="Arial" panose="020B0604020202020204" pitchFamily="34" charset="0"/>
              <a:buChar char="•"/>
            </a:pPr>
            <a:endParaRPr lang="en-US" sz="1000" dirty="0">
              <a:cs typeface="Arial"/>
            </a:endParaRPr>
          </a:p>
        </p:txBody>
      </p:sp>
      <p:sp>
        <p:nvSpPr>
          <p:cNvPr id="4" name="Slide Number Placeholder 3"/>
          <p:cNvSpPr>
            <a:spLocks noGrp="1"/>
          </p:cNvSpPr>
          <p:nvPr>
            <p:ph type="sldNum" sz="quarter" idx="5"/>
          </p:nvPr>
        </p:nvSpPr>
        <p:spPr/>
        <p:txBody>
          <a:bodyPr/>
          <a:lstStyle/>
          <a:p>
            <a:fld id="{0E79F9C1-6A3C-4B55-8C89-00C0FB1E22C3}" type="slidenum">
              <a:rPr lang="en-US" smtClean="0"/>
              <a:pPr/>
              <a:t>18</a:t>
            </a:fld>
            <a:endParaRPr lang="en-US"/>
          </a:p>
        </p:txBody>
      </p:sp>
    </p:spTree>
    <p:extLst>
      <p:ext uri="{BB962C8B-B14F-4D97-AF65-F5344CB8AC3E}">
        <p14:creationId xmlns:p14="http://schemas.microsoft.com/office/powerpoint/2010/main" val="21188437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dirty="0">
                <a:latin typeface="Arial"/>
                <a:cs typeface="Arial"/>
              </a:rPr>
              <a:t>Digital inequity is an enabler of other social determinants of health, which make utilizing digital health tools continually harder.</a:t>
            </a:r>
          </a:p>
          <a:p>
            <a:pPr marL="628650" lvl="1" indent="-171450">
              <a:buFont typeface="Arial" panose="020B0604020202020204" pitchFamily="34" charset="0"/>
              <a:buChar char="•"/>
            </a:pPr>
            <a:r>
              <a:rPr lang="en-US" sz="1000" dirty="0">
                <a:latin typeface="Arial"/>
                <a:cs typeface="Arial"/>
              </a:rPr>
              <a:t>As we round out the presentation, it’s important to take one final look at how cyclical of an issue digital inequity is, before looking at some first steps providers and organizations can take to better surface and understand about these disparities across their own patient populations. </a:t>
            </a:r>
          </a:p>
          <a:p>
            <a:pPr marL="628650" lvl="1" indent="-171450" defTabSz="931774">
              <a:buFont typeface="Arial" panose="020B0604020202020204" pitchFamily="34" charset="0"/>
              <a:buChar char="•"/>
              <a:defRPr/>
            </a:pPr>
            <a:r>
              <a:rPr lang="en-US" sz="1000" dirty="0"/>
              <a:t>Inequity is a cyclical issue:</a:t>
            </a:r>
          </a:p>
          <a:p>
            <a:pPr marL="1085850" lvl="2" indent="-171450" defTabSz="931774">
              <a:buFont typeface="Arial" panose="020B0604020202020204" pitchFamily="34" charset="0"/>
              <a:buChar char="•"/>
              <a:defRPr/>
            </a:pPr>
            <a:r>
              <a:rPr lang="en-US" sz="1000" dirty="0"/>
              <a:t>Inadequate education limits employment opportunities, which exacerbate disparities in housing, nutrition, and safety. </a:t>
            </a:r>
          </a:p>
          <a:p>
            <a:pPr marL="1085850" lvl="2" indent="-171450" defTabSz="931774">
              <a:buFont typeface="Arial" panose="020B0604020202020204" pitchFamily="34" charset="0"/>
              <a:buChar char="•"/>
              <a:defRPr/>
            </a:pPr>
            <a:r>
              <a:rPr lang="en-US" sz="1000" dirty="0"/>
              <a:t>Parallel to these inequities is a widening gap in technology access and digital literacy. This results in disadvantaged individuals who are also disconnected from important technological touchpoints, such as health care.</a:t>
            </a:r>
          </a:p>
          <a:p>
            <a:pPr marL="1085850" lvl="2" indent="-171450" defTabSz="931774">
              <a:buFont typeface="Arial" panose="020B0604020202020204" pitchFamily="34" charset="0"/>
              <a:buChar char="•"/>
              <a:defRPr/>
            </a:pPr>
            <a:r>
              <a:rPr lang="en-US" sz="1000" dirty="0"/>
              <a:t> As more care delivery shifts to the virtual setting, digital inequities will worsen health outcomes related to technology, as well as the existing cycle of other social determinants of health. </a:t>
            </a:r>
          </a:p>
          <a:p>
            <a:pPr marL="171450" lvl="0" indent="-171450" defTabSz="931774">
              <a:buFont typeface="Arial" panose="020B0604020202020204" pitchFamily="34" charset="0"/>
              <a:buChar char="•"/>
              <a:defRPr/>
            </a:pPr>
            <a:r>
              <a:rPr lang="en-US" sz="1000" i="1" u="sng" dirty="0"/>
              <a:t>Transition: </a:t>
            </a:r>
            <a:r>
              <a:rPr lang="en-US" sz="1000" i="1" dirty="0"/>
              <a:t>With an understanding of what causes digital inequity, what are organizations doing to understand the problem as it applies to their own patient populations?</a:t>
            </a:r>
          </a:p>
          <a:p>
            <a:endParaRPr lang="en-US" sz="1000" dirty="0">
              <a:latin typeface="Arial"/>
              <a:cs typeface="Arial"/>
            </a:endParaRPr>
          </a:p>
          <a:p>
            <a:endParaRPr lang="en-US" sz="1000" dirty="0">
              <a:latin typeface="Calibri"/>
              <a:cs typeface="Calibri"/>
            </a:endParaRPr>
          </a:p>
          <a:p>
            <a:endParaRPr lang="en-US" sz="1000" dirty="0">
              <a:latin typeface="Calibri"/>
              <a:cs typeface="Calibri"/>
            </a:endParaRPr>
          </a:p>
        </p:txBody>
      </p:sp>
      <p:sp>
        <p:nvSpPr>
          <p:cNvPr id="4" name="Slide Number Placeholder 3"/>
          <p:cNvSpPr>
            <a:spLocks noGrp="1"/>
          </p:cNvSpPr>
          <p:nvPr>
            <p:ph type="sldNum" sz="quarter" idx="5"/>
          </p:nvPr>
        </p:nvSpPr>
        <p:spPr/>
        <p:txBody>
          <a:bodyPr/>
          <a:lstStyle/>
          <a:p>
            <a:fld id="{0E79F9C1-6A3C-4B55-8C89-00C0FB1E22C3}" type="slidenum">
              <a:rPr lang="en-US" smtClean="0"/>
              <a:pPr/>
              <a:t>19</a:t>
            </a:fld>
            <a:endParaRPr lang="en-US"/>
          </a:p>
        </p:txBody>
      </p:sp>
    </p:spTree>
    <p:extLst>
      <p:ext uri="{BB962C8B-B14F-4D97-AF65-F5344CB8AC3E}">
        <p14:creationId xmlns:p14="http://schemas.microsoft.com/office/powerpoint/2010/main" val="1255767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a:buChar char="•"/>
              <a:defRPr/>
            </a:pPr>
            <a:r>
              <a:rPr lang="en-US" sz="1000" b="1" dirty="0">
                <a:latin typeface="Arial"/>
                <a:cs typeface="Arial"/>
              </a:rPr>
              <a:t>The term “digital inequity” is often summarized with two major buckets – digital literacy and internet connectivity – but also extends to other aspects of digital interactions like trust in digital solutions and user experience</a:t>
            </a:r>
          </a:p>
          <a:p>
            <a:pPr marL="631908" lvl="1" indent="-174708">
              <a:buFont typeface="Arial"/>
              <a:buChar char="•"/>
              <a:defRPr/>
            </a:pPr>
            <a:r>
              <a:rPr lang="en-US" sz="1000" dirty="0">
                <a:latin typeface="Arial"/>
                <a:cs typeface="Arial"/>
              </a:rPr>
              <a:t>So, to begin, what do we mean when we say “digital inequity?” It’s safe to say that lacking access to technology is a social determinant of health.</a:t>
            </a:r>
          </a:p>
          <a:p>
            <a:pPr marL="631908" lvl="1" indent="-174708">
              <a:buFont typeface="Arial"/>
              <a:buChar char="•"/>
              <a:defRPr/>
            </a:pPr>
            <a:r>
              <a:rPr lang="en-US" sz="1000" dirty="0">
                <a:latin typeface="Arial"/>
                <a:cs typeface="Arial"/>
              </a:rPr>
              <a:t>In fact, we’ve begun to also see this be described as a “super social determinant of health,” owing largely to the major role and truly widespread ramifications technology can have on an individual’s health and quality of life overall. </a:t>
            </a:r>
          </a:p>
          <a:p>
            <a:pPr marL="631908" lvl="1" indent="-174708">
              <a:buFont typeface="Arial" panose="020B0604020202020204" pitchFamily="34" charset="0"/>
              <a:buChar char="•"/>
              <a:defRPr/>
            </a:pPr>
            <a:r>
              <a:rPr lang="en-US" sz="1000" dirty="0">
                <a:latin typeface="Arial"/>
                <a:cs typeface="Arial"/>
              </a:rPr>
              <a:t>And so when we say digital inequity, we’re talking about a myriad of root issues – Whether this be access to broadband services and devices, matters of technology affordability, how to engage with populations with low trust or digital literacy, and even concerns surrounding user experience and accessible design. </a:t>
            </a:r>
          </a:p>
          <a:p>
            <a:pPr marL="0" indent="0">
              <a:buFont typeface="Arial" panose="020B0604020202020204" pitchFamily="34" charset="0"/>
              <a:buNone/>
              <a:defRPr/>
            </a:pPr>
            <a:r>
              <a:rPr lang="en-US" sz="1000" i="1" u="sng" strike="noStrike" dirty="0">
                <a:latin typeface="Arial"/>
                <a:cs typeface="Arial"/>
              </a:rPr>
              <a:t>Transition: </a:t>
            </a:r>
            <a:r>
              <a:rPr lang="en-US" sz="1000" i="1" strike="noStrike" dirty="0">
                <a:latin typeface="Arial"/>
                <a:cs typeface="Arial"/>
              </a:rPr>
              <a:t>It’s important to note the distinction between the term “digital inequity” as we use it here and the commonly used term “digital divide” that you’ve all probably heard before.</a:t>
            </a:r>
          </a:p>
          <a:p>
            <a:pPr marL="174708" indent="-174708">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2</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1017919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Understanding the scope and extent of digital inequity is a key first step, followed by investing in appropriate solutions.</a:t>
            </a:r>
          </a:p>
          <a:p>
            <a:pPr marL="631908" lvl="1" indent="-174708">
              <a:buFont typeface="Arial" panose="020B0604020202020204" pitchFamily="34" charset="0"/>
              <a:buChar char="•"/>
            </a:pPr>
            <a:r>
              <a:rPr lang="en-US" sz="1000" dirty="0">
                <a:latin typeface="Arial"/>
                <a:cs typeface="Arial"/>
              </a:rPr>
              <a:t>To effectively address digital inequities, we have to overcome these fundamental challenges. </a:t>
            </a:r>
          </a:p>
          <a:p>
            <a:pPr marL="631908" lvl="1" indent="-174708">
              <a:buFont typeface="Arial" panose="020B0604020202020204" pitchFamily="34" charset="0"/>
              <a:buChar char="•"/>
            </a:pPr>
            <a:r>
              <a:rPr lang="en-US" sz="1000" dirty="0">
                <a:latin typeface="Arial"/>
                <a:cs typeface="Arial"/>
              </a:rPr>
              <a:t>First, we have to understand the full extent of the problem - Getting a grip on how digital inequities impact our patients and communities is a prerequisite to having the right kind of interventions. The issues to overcome on this front include a lack of quality data on who is experiencing challenges with technology and what those specific challenges are. </a:t>
            </a:r>
          </a:p>
          <a:p>
            <a:pPr marL="1089108" lvl="2" indent="-174708">
              <a:buFont typeface="Arial" panose="020B0604020202020204" pitchFamily="34" charset="0"/>
              <a:buChar char="•"/>
            </a:pPr>
            <a:r>
              <a:rPr lang="en-US" sz="1000" dirty="0">
                <a:latin typeface="Arial"/>
                <a:cs typeface="Arial"/>
              </a:rPr>
              <a:t>Understanding who is impacted by digital inequity and in what ways will help guide organizations to the most relevant solutions</a:t>
            </a:r>
          </a:p>
          <a:p>
            <a:pPr marL="171450" indent="-171450">
              <a:buFont typeface="Arial" panose="020B0604020202020204" pitchFamily="34" charset="0"/>
              <a:buChar char="•"/>
            </a:pPr>
            <a:r>
              <a:rPr lang="en-US" sz="1000" i="1" u="sng" dirty="0">
                <a:latin typeface="Calibri"/>
                <a:cs typeface="Calibri"/>
              </a:rPr>
              <a:t>Transition: </a:t>
            </a:r>
            <a:r>
              <a:rPr lang="en-US" sz="1000" i="1" dirty="0">
                <a:latin typeface="Calibri"/>
                <a:cs typeface="Calibri"/>
              </a:rPr>
              <a:t>There are several concrete methods organizations utilize to help develop their understanding of digital inequity.</a:t>
            </a:r>
          </a:p>
          <a:p>
            <a:endParaRPr lang="en-US" sz="1000" dirty="0">
              <a:latin typeface="Calibri"/>
              <a:cs typeface="Calibri"/>
            </a:endParaRPr>
          </a:p>
        </p:txBody>
      </p:sp>
      <p:sp>
        <p:nvSpPr>
          <p:cNvPr id="4" name="Slide Number Placeholder 3"/>
          <p:cNvSpPr>
            <a:spLocks noGrp="1"/>
          </p:cNvSpPr>
          <p:nvPr>
            <p:ph type="sldNum" sz="quarter" idx="5"/>
          </p:nvPr>
        </p:nvSpPr>
        <p:spPr/>
        <p:txBody>
          <a:bodyPr/>
          <a:lstStyle/>
          <a:p>
            <a:fld id="{0E79F9C1-6A3C-4B55-8C89-00C0FB1E22C3}" type="slidenum">
              <a:rPr lang="en-US" smtClean="0"/>
              <a:pPr/>
              <a:t>20</a:t>
            </a:fld>
            <a:endParaRPr lang="en-US"/>
          </a:p>
        </p:txBody>
      </p:sp>
    </p:spTree>
    <p:extLst>
      <p:ext uri="{BB962C8B-B14F-4D97-AF65-F5344CB8AC3E}">
        <p14:creationId xmlns:p14="http://schemas.microsoft.com/office/powerpoint/2010/main" val="4012728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r>
              <a:rPr lang="en-US" sz="1000" b="1" dirty="0"/>
              <a:t>Collecting data via existing workflows (like patient intake/onboarding) can help put the problem into perspective.</a:t>
            </a:r>
          </a:p>
          <a:p>
            <a:pPr marL="631908" lvl="1" indent="-174708" defTabSz="931774">
              <a:buFont typeface="Arial" panose="020B0604020202020204" pitchFamily="34" charset="0"/>
              <a:buChar char="•"/>
              <a:defRPr/>
            </a:pPr>
            <a:r>
              <a:rPr lang="en-US" sz="1000" dirty="0"/>
              <a:t>One can collect patient demographic information such as age, location, and primary language spoken. In addition, organizations can leverage their regional payers’ data of patient access and social determinants of health, when available. </a:t>
            </a:r>
            <a:endParaRPr lang="en-US" sz="1000" dirty="0">
              <a:latin typeface="Arial"/>
              <a:cs typeface="Arial"/>
            </a:endParaRPr>
          </a:p>
          <a:p>
            <a:pPr marL="631908" lvl="1" indent="-174708">
              <a:buFont typeface="Arial" panose="020B0604020202020204" pitchFamily="34" charset="0"/>
              <a:buChar char="•"/>
            </a:pPr>
            <a:r>
              <a:rPr lang="en-US" sz="1000" dirty="0">
                <a:latin typeface="Arial"/>
                <a:cs typeface="Arial"/>
              </a:rPr>
              <a:t>You can collect appropriate data through a more direct patient assessment or questionnaire, in the same way that many organizations identify needs related to other social determinants of health. </a:t>
            </a:r>
            <a:endParaRPr lang="en-US" sz="1000" dirty="0"/>
          </a:p>
          <a:p>
            <a:pPr marL="631908" lvl="1" indent="-174708">
              <a:buFont typeface="Arial" panose="020B0604020202020204" pitchFamily="34" charset="0"/>
              <a:buChar char="•"/>
            </a:pPr>
            <a:r>
              <a:rPr lang="en-US" sz="1000" dirty="0">
                <a:latin typeface="Arial"/>
                <a:cs typeface="Arial"/>
              </a:rPr>
              <a:t>There are examples linked here on this slide (and you'll all be able to access the slides from today's event) from the City of San Francisco and </a:t>
            </a:r>
            <a:r>
              <a:rPr lang="en-US" sz="1000" dirty="0" err="1">
                <a:latin typeface="Arial"/>
                <a:cs typeface="Arial"/>
              </a:rPr>
              <a:t>Northstar</a:t>
            </a:r>
            <a:r>
              <a:rPr lang="en-US" sz="1000" dirty="0">
                <a:latin typeface="Arial"/>
                <a:cs typeface="Arial"/>
              </a:rPr>
              <a:t> to assess an individual’s digital capabilities. </a:t>
            </a:r>
            <a:endParaRPr lang="en-US" sz="1000" dirty="0">
              <a:cs typeface="Arial"/>
            </a:endParaRPr>
          </a:p>
          <a:p>
            <a:pPr marL="631908" lvl="1" indent="-174708">
              <a:buFont typeface="Arial" panose="020B0604020202020204" pitchFamily="34" charset="0"/>
              <a:buChar char="•"/>
            </a:pPr>
            <a:r>
              <a:rPr lang="en-US" sz="1000" dirty="0">
                <a:latin typeface="Arial"/>
                <a:cs typeface="Arial"/>
              </a:rPr>
              <a:t>This is an approach that’s just as applicable to health plans as it is to providers. Plans can ask these kinds of questions during member onboarding, and work with employers to make sure they get answers. Providers can insert these questions to intake and discharge forms while monitoring high-need entry points like the ED.</a:t>
            </a:r>
          </a:p>
          <a:p>
            <a:pPr marL="174708"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With this understanding of how digital inequity impacts different patient groups, organizations can begin researching the best tools to address the identified problems.</a:t>
            </a:r>
          </a:p>
          <a:p>
            <a:pPr marL="174708" indent="-174708">
              <a:buFont typeface="Arial" panose="020B0604020202020204" pitchFamily="34" charset="0"/>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21</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6435204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dirty="0">
                <a:latin typeface="Arial"/>
                <a:cs typeface="Arial"/>
              </a:rPr>
              <a:t>These are a few Advisory Board resources that reiterate many topics we went over today with additional details and examples.</a:t>
            </a:r>
          </a:p>
          <a:p>
            <a:pPr marL="628650" lvl="1" indent="-171450">
              <a:buFont typeface="Arial" panose="020B0604020202020204" pitchFamily="34" charset="0"/>
              <a:buChar char="•"/>
            </a:pPr>
            <a:r>
              <a:rPr lang="en-US" sz="1000" dirty="0">
                <a:latin typeface="Arial"/>
                <a:cs typeface="Arial"/>
              </a:rPr>
              <a:t>As we round out our didactic session and move into our panel discussion, I want to take a moment to call out some resources we are publishing on this topic</a:t>
            </a:r>
          </a:p>
          <a:p>
            <a:pPr marL="631908" lvl="1" indent="-174708">
              <a:buFont typeface="Arial" panose="020B0604020202020204" pitchFamily="34" charset="0"/>
              <a:buChar char="•"/>
            </a:pPr>
            <a:r>
              <a:rPr lang="en-US" sz="1000" dirty="0">
                <a:latin typeface="Arial"/>
                <a:cs typeface="Arial"/>
              </a:rPr>
              <a:t>Advisory Board has recently published a cheat sheet, or a short document that highlights some of the basics around the topic of digital inequity, and we'll soon have a separate cheat sheet on the topic of digital literacy</a:t>
            </a:r>
          </a:p>
          <a:p>
            <a:pPr marL="631908" lvl="1" indent="-174708">
              <a:buFont typeface="Arial" panose="020B0604020202020204" pitchFamily="34" charset="0"/>
              <a:buChar char="•"/>
            </a:pPr>
            <a:r>
              <a:rPr lang="en-US" sz="1000" dirty="0">
                <a:latin typeface="Arial"/>
                <a:cs typeface="Arial"/>
              </a:rPr>
              <a:t>Thank you/questions?</a:t>
            </a: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22</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163050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1359AF9-9266-4B7E-8AB8-612E3254DEF9}" type="slidenum">
              <a:rPr lang="en-US" smtClean="0"/>
              <a:t>23</a:t>
            </a:fld>
            <a:endParaRPr lang="en-US"/>
          </a:p>
        </p:txBody>
      </p:sp>
    </p:spTree>
    <p:extLst>
      <p:ext uri="{BB962C8B-B14F-4D97-AF65-F5344CB8AC3E}">
        <p14:creationId xmlns:p14="http://schemas.microsoft.com/office/powerpoint/2010/main" val="758377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1359AF9-9266-4B7E-8AB8-612E3254DEF9}" type="slidenum">
              <a:rPr lang="en-US" smtClean="0"/>
              <a:t>24</a:t>
            </a:fld>
            <a:endParaRPr lang="en-US"/>
          </a:p>
        </p:txBody>
      </p:sp>
    </p:spTree>
    <p:extLst>
      <p:ext uri="{BB962C8B-B14F-4D97-AF65-F5344CB8AC3E}">
        <p14:creationId xmlns:p14="http://schemas.microsoft.com/office/powerpoint/2010/main" val="4089532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000" b="1" dirty="0">
                <a:latin typeface="Arial"/>
                <a:cs typeface="Arial"/>
              </a:rPr>
              <a:t>We are deliberately using the term “digital inequity” and </a:t>
            </a:r>
            <a:r>
              <a:rPr lang="en-US" sz="1000" b="1" i="1" dirty="0">
                <a:latin typeface="Arial"/>
                <a:cs typeface="Arial"/>
              </a:rPr>
              <a:t>not</a:t>
            </a:r>
            <a:r>
              <a:rPr lang="en-US" sz="1000" b="1" dirty="0">
                <a:latin typeface="Arial"/>
                <a:cs typeface="Arial"/>
              </a:rPr>
              <a:t> the more common “digital divide" as there are problematic assumptions built into the term “digital divide” that can lead us to an inaccurate understanding of the challenges involved . </a:t>
            </a:r>
          </a:p>
          <a:p>
            <a:pPr marL="631908" lvl="1" indent="-174708">
              <a:buFont typeface="Arial" panose="020B0604020202020204" pitchFamily="34" charset="0"/>
              <a:buChar char="•"/>
            </a:pPr>
            <a:r>
              <a:rPr lang="en-US" sz="1000" dirty="0">
                <a:latin typeface="Arial"/>
                <a:cs typeface="Arial"/>
              </a:rPr>
              <a:t>There are a few reasons why the term “digital divide” falls short:</a:t>
            </a:r>
          </a:p>
          <a:p>
            <a:pPr marL="1097794" lvl="2" indent="-174708">
              <a:buFont typeface="Arial" panose="020B0604020202020204" pitchFamily="34" charset="0"/>
              <a:buChar char="•"/>
            </a:pPr>
            <a:r>
              <a:rPr lang="en-US" sz="1000" dirty="0">
                <a:latin typeface="Arial"/>
                <a:cs typeface="Arial"/>
              </a:rPr>
              <a:t>First, it implies that this is a binary problem - one that carves the world into the haves and have nots, when in reality, patients can experience challenges across a spectrum of ability and access.</a:t>
            </a:r>
          </a:p>
          <a:p>
            <a:pPr marL="1097794" lvl="2" indent="-174708">
              <a:buFont typeface="Arial" panose="020B0604020202020204" pitchFamily="34" charset="0"/>
              <a:buChar char="•"/>
            </a:pPr>
            <a:r>
              <a:rPr lang="en-US" sz="1000" dirty="0">
                <a:latin typeface="Arial"/>
                <a:cs typeface="Arial"/>
              </a:rPr>
              <a:t>It also suggests that this is an infrastructure problem—that is, to extend the metaphor to its natural conclusion, that it can be “bridged” if someone just builds the right thing.</a:t>
            </a:r>
          </a:p>
          <a:p>
            <a:pPr marL="1097794" lvl="2" indent="-174708">
              <a:buFont typeface="Arial" panose="020B0604020202020204" pitchFamily="34" charset="0"/>
              <a:buChar char="•"/>
            </a:pPr>
            <a:r>
              <a:rPr lang="en-US" sz="1000" dirty="0">
                <a:latin typeface="Arial"/>
                <a:cs typeface="Arial"/>
              </a:rPr>
              <a:t>The digital divide leads us to also believe that there is a single, finite solution to the problem, instead of acknowledging digital inequity as an ongoing, systematic challenge that can’t be solved all at once and must be continually worked against.</a:t>
            </a:r>
          </a:p>
          <a:p>
            <a:pPr marL="1097794" lvl="2" indent="-174708">
              <a:buFont typeface="Arial" panose="020B0604020202020204" pitchFamily="34" charset="0"/>
              <a:buChar char="•"/>
            </a:pPr>
            <a:r>
              <a:rPr lang="en-US" sz="1000" dirty="0">
                <a:latin typeface="Arial"/>
                <a:cs typeface="Arial"/>
              </a:rPr>
              <a:t>And, lastly, the term makes some feel that this is someone else’s problem, when the truth is that this is a problem for each organization that adopts or invests in a new technology.</a:t>
            </a:r>
          </a:p>
          <a:p>
            <a:pPr marL="183394"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Having a clear understanding of what we mean by “digital inequity” is just as important as understanding how these disparities developed to begin with.</a:t>
            </a:r>
          </a:p>
          <a:p>
            <a:pPr marL="174708" indent="-174708">
              <a:buFontTx/>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3</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2124755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r>
              <a:rPr lang="en-US" sz="1000" b="1" dirty="0">
                <a:latin typeface="Arial" panose="020B0604020202020204" pitchFamily="34" charset="0"/>
                <a:cs typeface="Arial" panose="020B0604020202020204" pitchFamily="34" charset="0"/>
              </a:rPr>
              <a:t>The root causes of digital inequity are based in structured systems that are associated with societal disparities at large, not just ones of digital inequity.</a:t>
            </a:r>
          </a:p>
          <a:p>
            <a:pPr marL="631908" lvl="1" indent="-174708" defTabSz="931774">
              <a:buFont typeface="Arial" panose="020B0604020202020204" pitchFamily="34" charset="0"/>
              <a:buChar char="•"/>
              <a:defRPr/>
            </a:pPr>
            <a:r>
              <a:rPr lang="en-US" sz="1000" dirty="0">
                <a:latin typeface="Arial" panose="020B0604020202020204" pitchFamily="34" charset="0"/>
                <a:cs typeface="Arial" panose="020B0604020202020204" pitchFamily="34" charset="0"/>
              </a:rPr>
              <a:t>Similar to how the causes of digital disparities are so deeply rooted and systemic in nature, there have been parallel, structural forces that have propagated inequities and led us here as well. </a:t>
            </a:r>
          </a:p>
          <a:p>
            <a:pPr marL="631908" lvl="1" indent="-174708" defTabSz="931774">
              <a:buFont typeface="Arial" panose="020B0604020202020204" pitchFamily="34" charset="0"/>
              <a:buChar char="•"/>
              <a:defRPr/>
            </a:pPr>
            <a:r>
              <a:rPr lang="en-US" sz="1000" dirty="0">
                <a:latin typeface="Arial" panose="020B0604020202020204" pitchFamily="34" charset="0"/>
                <a:cs typeface="Arial" panose="020B0604020202020204" pitchFamily="34" charset="0"/>
              </a:rPr>
              <a:t>These largely include: </a:t>
            </a:r>
          </a:p>
          <a:p>
            <a:pPr marL="1097794" lvl="2" indent="-174708" defTabSz="931774">
              <a:buFont typeface="Arial" panose="020B0604020202020204" pitchFamily="34" charset="0"/>
              <a:buChar char="•"/>
              <a:defRPr/>
            </a:pPr>
            <a:r>
              <a:rPr lang="en-US" sz="1000" dirty="0">
                <a:latin typeface="Arial" panose="020B0604020202020204" pitchFamily="34" charset="0"/>
                <a:cs typeface="Arial" panose="020B0604020202020204" pitchFamily="34" charset="0"/>
              </a:rPr>
              <a:t>Education – Whether that is early exposure to technology and digital tools or learning how to engage and communicate digitally</a:t>
            </a:r>
          </a:p>
          <a:p>
            <a:pPr marL="1097794" lvl="2" indent="-174708" defTabSz="931774">
              <a:buFont typeface="Arial" panose="020B0604020202020204" pitchFamily="34" charset="0"/>
              <a:buChar char="•"/>
              <a:defRPr/>
            </a:pPr>
            <a:r>
              <a:rPr lang="en-US" sz="1000" dirty="0">
                <a:latin typeface="Arial" panose="020B0604020202020204" pitchFamily="34" charset="0"/>
                <a:cs typeface="Arial" panose="020B0604020202020204" pitchFamily="34" charset="0"/>
              </a:rPr>
              <a:t>You also have infrastructure issues – largely the unequal distribution of broadband and digital redlining wherein connectivity access has not historically been allocated in an equitable manner </a:t>
            </a:r>
          </a:p>
          <a:p>
            <a:pPr marL="1097794" lvl="2" indent="-174708" defTabSz="931774">
              <a:buFont typeface="Arial" panose="020B0604020202020204" pitchFamily="34" charset="0"/>
              <a:buChar char="•"/>
              <a:defRPr/>
            </a:pPr>
            <a:r>
              <a:rPr lang="en-US" sz="1000" dirty="0">
                <a:latin typeface="Arial" panose="020B0604020202020204" pitchFamily="34" charset="0"/>
                <a:cs typeface="Arial" panose="020B0604020202020204" pitchFamily="34" charset="0"/>
              </a:rPr>
              <a:t>You also have socioeconomic considerations – technology by and large is expensive, and the costs associated with devices and broadband often exclude those of lower socioeconomic status </a:t>
            </a:r>
          </a:p>
          <a:p>
            <a:pPr marL="1097794" lvl="2" indent="-174708" defTabSz="931774">
              <a:buFont typeface="Arial" panose="020B0604020202020204" pitchFamily="34" charset="0"/>
              <a:buChar char="•"/>
              <a:defRPr/>
            </a:pPr>
            <a:r>
              <a:rPr lang="en-US" sz="1000" dirty="0">
                <a:latin typeface="Arial" panose="020B0604020202020204" pitchFamily="34" charset="0"/>
                <a:cs typeface="Arial" panose="020B0604020202020204" pitchFamily="34" charset="0"/>
              </a:rPr>
              <a:t>And lastly, when new technology is developed and so rapidly adopted and scaled, you’ll have a large part of society jump to buy into it because of the potential or promised efficiencies – but that also consequently excludes a subset of the population </a:t>
            </a:r>
          </a:p>
          <a:p>
            <a:pPr marL="183394" lvl="0" indent="-174708" defTabSz="931774">
              <a:buFont typeface="Arial" panose="020B0604020202020204" pitchFamily="34" charset="0"/>
              <a:buChar char="•"/>
              <a:defRPr/>
            </a:pPr>
            <a:r>
              <a:rPr lang="en-US" sz="1000" i="1" u="sng" dirty="0">
                <a:latin typeface="Arial" panose="020B0604020202020204" pitchFamily="34" charset="0"/>
                <a:cs typeface="Arial" panose="020B0604020202020204" pitchFamily="34" charset="0"/>
              </a:rPr>
              <a:t>Transition: </a:t>
            </a:r>
            <a:r>
              <a:rPr lang="en-US" sz="1000" i="1" dirty="0">
                <a:latin typeface="Arial" panose="020B0604020202020204" pitchFamily="34" charset="0"/>
                <a:cs typeface="Arial" panose="020B0604020202020204" pitchFamily="34" charset="0"/>
              </a:rPr>
              <a:t>While these tend to be the main root causes of digital inequity, they are not the only factors that have an influence</a:t>
            </a:r>
          </a:p>
          <a:p>
            <a:pPr defTabSz="931774">
              <a:defRPr/>
            </a:pPr>
            <a:r>
              <a:rPr lang="en-US" sz="1000" dirty="0">
                <a:latin typeface="Arial" panose="020B0604020202020204" pitchFamily="34" charset="0"/>
                <a:cs typeface="Arial" panose="020B0604020202020204" pitchFamily="34" charset="0"/>
              </a:rPr>
              <a:t>______________</a:t>
            </a:r>
          </a:p>
          <a:p>
            <a:pPr marL="232943" indent="-232943" defTabSz="931774">
              <a:buFont typeface="+mj-lt"/>
              <a:buAutoNum type="arabicPeriod"/>
              <a:defRPr/>
            </a:pPr>
            <a:r>
              <a:rPr lang="en-US" sz="1000" dirty="0">
                <a:latin typeface="Arial" panose="020B0604020202020204" pitchFamily="34" charset="0"/>
                <a:cs typeface="Arial" panose="020B0604020202020204" pitchFamily="34" charset="0"/>
              </a:rPr>
              <a:t>Impact of education on technology usage and adoption</a:t>
            </a:r>
          </a:p>
          <a:p>
            <a:pPr marL="232943" indent="-232943" defTabSz="931774">
              <a:buFont typeface="+mj-lt"/>
              <a:buAutoNum type="arabicPeriod"/>
              <a:defRPr/>
            </a:pPr>
            <a:r>
              <a:rPr lang="en-US" sz="1000" dirty="0">
                <a:latin typeface="Arial" panose="020B0604020202020204" pitchFamily="34" charset="0"/>
                <a:cs typeface="Arial" panose="020B0604020202020204" pitchFamily="34" charset="0"/>
              </a:rPr>
              <a:t>Unequal distribution of broadband and digital redlining by internet service providers </a:t>
            </a:r>
          </a:p>
          <a:p>
            <a:pPr marL="232943" indent="-232943" defTabSz="931774">
              <a:buFont typeface="+mj-lt"/>
              <a:buAutoNum type="arabicPeriod"/>
              <a:defRPr/>
            </a:pPr>
            <a:r>
              <a:rPr lang="en-US" sz="1000" dirty="0">
                <a:latin typeface="Arial" panose="020B0604020202020204" pitchFamily="34" charset="0"/>
                <a:cs typeface="Arial" panose="020B0604020202020204" pitchFamily="34" charset="0"/>
              </a:rPr>
              <a:t>Cost of new technology prices exclude those of lower socioeconomic status</a:t>
            </a:r>
          </a:p>
          <a:p>
            <a:pPr marL="232943" indent="-232943">
              <a:buFont typeface="+mj-lt"/>
              <a:buAutoNum type="arabicPeriod"/>
            </a:pPr>
            <a:r>
              <a:rPr lang="en-US" sz="1000" dirty="0">
                <a:latin typeface="Arial" panose="020B0604020202020204" pitchFamily="34" charset="0"/>
                <a:cs typeface="Arial" panose="020B0604020202020204" pitchFamily="34" charset="0"/>
              </a:rPr>
              <a:t>Integration of technology into basic societal tools due to efficiencies </a:t>
            </a:r>
          </a:p>
        </p:txBody>
      </p:sp>
      <p:sp>
        <p:nvSpPr>
          <p:cNvPr id="4" name="Slide Number Placeholder 3"/>
          <p:cNvSpPr>
            <a:spLocks noGrp="1"/>
          </p:cNvSpPr>
          <p:nvPr>
            <p:ph type="sldNum" sz="quarter" idx="5"/>
          </p:nvPr>
        </p:nvSpPr>
        <p:spPr/>
        <p:txBody>
          <a:bodyPr/>
          <a:lstStyle/>
          <a:p>
            <a:fld id="{41359AF9-9266-4B7E-8AB8-612E3254DEF9}" type="slidenum">
              <a:rPr lang="en-US" smtClean="0"/>
              <a:t>4</a:t>
            </a:fld>
            <a:endParaRPr lang="en-US"/>
          </a:p>
        </p:txBody>
      </p:sp>
    </p:spTree>
    <p:extLst>
      <p:ext uri="{BB962C8B-B14F-4D97-AF65-F5344CB8AC3E}">
        <p14:creationId xmlns:p14="http://schemas.microsoft.com/office/powerpoint/2010/main" val="2774711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dirty="0">
                <a:latin typeface="Arial" panose="020B0604020202020204" pitchFamily="34" charset="0"/>
                <a:cs typeface="Arial" panose="020B0604020202020204" pitchFamily="34" charset="0"/>
              </a:rPr>
              <a:t>The Covid-19 pandemic has made issues of digital inequity more pronounced, especially since we have become more and more reliant on technology for our daily functions.</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These structural forces that gave rise to digital inequity are not new in and of themselves, but the pandemic has affected how people access education, the workforce, daily tasks like groceries or socializing—And of course, how people access health care.</a:t>
            </a:r>
          </a:p>
          <a:p>
            <a:pPr marL="631908" lvl="1" indent="-174708">
              <a:buFont typeface="Arial" panose="020B0604020202020204" pitchFamily="34" charset="0"/>
              <a:buChar char="•"/>
            </a:pPr>
            <a:r>
              <a:rPr lang="en-US" sz="1000" dirty="0">
                <a:latin typeface="Arial" panose="020B0604020202020204" pitchFamily="34" charset="0"/>
                <a:cs typeface="Arial" panose="020B0604020202020204" pitchFamily="34" charset="0"/>
              </a:rPr>
              <a:t>As telehealth was so rapidly scaled to account for the shift away from in-person care, this growth and scaling lacked any real nuances of equity and there was little consideration of digital equity in virtual solutions</a:t>
            </a:r>
          </a:p>
          <a:p>
            <a:pPr marL="631908" lvl="1" indent="-174708">
              <a:buFont typeface="Arial" panose="020B0604020202020204" pitchFamily="34" charset="0"/>
              <a:buChar char="•"/>
            </a:pPr>
            <a:r>
              <a:rPr lang="en-US" sz="1000" dirty="0">
                <a:latin typeface="Arial" panose="020B0604020202020204" pitchFamily="34" charset="0"/>
                <a:cs typeface="Arial" panose="020B0604020202020204" pitchFamily="34" charset="0"/>
              </a:rPr>
              <a:t>But what we now see is that this investment isn’t slowing –</a:t>
            </a:r>
            <a:endParaRPr lang="en-US" sz="1000" dirty="0">
              <a:latin typeface="Arial" panose="020B0604020202020204" pitchFamily="34" charset="0"/>
              <a:ea typeface="Calibri" panose="020F0502020204030204" pitchFamily="34" charset="0"/>
              <a:cs typeface="Arial" panose="020B0604020202020204" pitchFamily="34" charset="0"/>
            </a:endParaRPr>
          </a:p>
          <a:p>
            <a:pPr marL="1272502" lvl="2" indent="-349415">
              <a:lnSpc>
                <a:spcPct val="107000"/>
              </a:lnSpc>
              <a:spcAft>
                <a:spcPts val="815"/>
              </a:spcAft>
              <a:buFont typeface="+mj-lt"/>
              <a:buAutoNum type="romanLcPeriod"/>
            </a:pPr>
            <a:r>
              <a:rPr lang="en-US" sz="1000" dirty="0">
                <a:latin typeface="Arial" panose="020B0604020202020204" pitchFamily="34" charset="0"/>
                <a:ea typeface="Calibri" panose="020F0502020204030204" pitchFamily="34" charset="0"/>
                <a:cs typeface="Arial" panose="020B0604020202020204" pitchFamily="34" charset="0"/>
              </a:rPr>
              <a:t>Rapid increase in importance of technology to people daily’s lives</a:t>
            </a:r>
          </a:p>
          <a:p>
            <a:pPr marL="1738389" lvl="3" indent="-349415">
              <a:lnSpc>
                <a:spcPct val="107000"/>
              </a:lnSpc>
              <a:spcAft>
                <a:spcPts val="815"/>
              </a:spcAft>
              <a:buFont typeface="+mj-lt"/>
              <a:buAutoNum type="romanLcPeriod"/>
            </a:pPr>
            <a:r>
              <a:rPr lang="en-US" sz="1000" dirty="0">
                <a:latin typeface="Arial" panose="020B0604020202020204" pitchFamily="34" charset="0"/>
                <a:ea typeface="Calibri" panose="020F0502020204030204" pitchFamily="34" charset="0"/>
                <a:cs typeface="Arial" panose="020B0604020202020204" pitchFamily="34" charset="0"/>
              </a:rPr>
              <a:t>Education, social interaction, access to groceries </a:t>
            </a:r>
          </a:p>
          <a:p>
            <a:pPr marL="1272502" lvl="2" indent="-349415">
              <a:lnSpc>
                <a:spcPct val="107000"/>
              </a:lnSpc>
              <a:spcAft>
                <a:spcPts val="815"/>
              </a:spcAft>
              <a:buFont typeface="+mj-lt"/>
              <a:buAutoNum type="romanLcPeriod"/>
            </a:pPr>
            <a:r>
              <a:rPr lang="en-US" sz="1000" dirty="0">
                <a:latin typeface="Arial" panose="020B0604020202020204" pitchFamily="34" charset="0"/>
                <a:ea typeface="Calibri" panose="020F0502020204030204" pitchFamily="34" charset="0"/>
                <a:cs typeface="Arial" panose="020B0604020202020204" pitchFamily="34" charset="0"/>
              </a:rPr>
              <a:t>Rapid increase of telehealth investment with little time for nuance</a:t>
            </a:r>
          </a:p>
          <a:p>
            <a:pPr marL="1738389" lvl="3" indent="-349415">
              <a:lnSpc>
                <a:spcPct val="107000"/>
              </a:lnSpc>
              <a:spcAft>
                <a:spcPts val="815"/>
              </a:spcAft>
              <a:buFont typeface="+mj-lt"/>
              <a:buAutoNum type="romanLcPeriod"/>
            </a:pPr>
            <a:r>
              <a:rPr lang="en-US" sz="1000" dirty="0">
                <a:latin typeface="Arial" panose="020B0604020202020204" pitchFamily="34" charset="0"/>
                <a:ea typeface="Calibri" panose="020F0502020204030204" pitchFamily="34" charset="0"/>
                <a:cs typeface="Arial" panose="020B0604020202020204" pitchFamily="34" charset="0"/>
              </a:rPr>
              <a:t>Education, social interaction, access to groceries </a:t>
            </a:r>
          </a:p>
          <a:p>
            <a:pPr marL="188824" lvl="0" indent="-171450">
              <a:lnSpc>
                <a:spcPct val="107000"/>
              </a:lnSpc>
              <a:spcAft>
                <a:spcPts val="815"/>
              </a:spcAft>
              <a:buFont typeface="Arial" panose="020B0604020202020204" pitchFamily="34" charset="0"/>
              <a:buChar char="•"/>
            </a:pPr>
            <a:r>
              <a:rPr lang="en-US" sz="1000" i="1" u="sng" dirty="0">
                <a:latin typeface="Arial" panose="020B0604020202020204" pitchFamily="34" charset="0"/>
                <a:ea typeface="Calibri" panose="020F0502020204030204" pitchFamily="34" charset="0"/>
                <a:cs typeface="Arial" panose="020B0604020202020204" pitchFamily="34" charset="0"/>
              </a:rPr>
              <a:t>Transition: </a:t>
            </a:r>
            <a:r>
              <a:rPr lang="en-US" sz="1000" i="1" dirty="0">
                <a:latin typeface="Arial" panose="020B0604020202020204" pitchFamily="34" charset="0"/>
                <a:ea typeface="Calibri" panose="020F0502020204030204" pitchFamily="34" charset="0"/>
                <a:cs typeface="Arial" panose="020B0604020202020204" pitchFamily="34" charset="0"/>
              </a:rPr>
              <a:t>This transition to digital health is less of a knee-jerk reaction to extenuating circumstances and more of a continuous trend we’re seeing among health care leaders</a:t>
            </a: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359AF9-9266-4B7E-8AB8-612E3254DEF9}" type="slidenum">
              <a:rPr lang="en-US" smtClean="0"/>
              <a:t>5</a:t>
            </a:fld>
            <a:endParaRPr lang="en-US"/>
          </a:p>
        </p:txBody>
      </p:sp>
    </p:spTree>
    <p:extLst>
      <p:ext uri="{BB962C8B-B14F-4D97-AF65-F5344CB8AC3E}">
        <p14:creationId xmlns:p14="http://schemas.microsoft.com/office/powerpoint/2010/main" val="2788273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1774">
              <a:buFont typeface="Arial" panose="020B0604020202020204" pitchFamily="34" charset="0"/>
              <a:buChar char="•"/>
              <a:defRPr/>
            </a:pPr>
            <a:r>
              <a:rPr lang="en-US" sz="1000" b="1" dirty="0">
                <a:latin typeface="Arial"/>
                <a:cs typeface="Arial"/>
              </a:rPr>
              <a:t>Digital transformation has been a top health care priority for leaders both amidst the pandemic and looking to the future. </a:t>
            </a:r>
            <a:endParaRPr lang="en-US" sz="1000" dirty="0">
              <a:latin typeface="Arial"/>
              <a:cs typeface="Arial"/>
            </a:endParaRPr>
          </a:p>
          <a:p>
            <a:pPr marL="631908" lvl="1" indent="-174708" defTabSz="931774">
              <a:buFont typeface="Arial" panose="020B0604020202020204" pitchFamily="34" charset="0"/>
              <a:buChar char="•"/>
              <a:defRPr/>
            </a:pPr>
            <a:r>
              <a:rPr lang="en-US" sz="1000" dirty="0">
                <a:latin typeface="Arial"/>
                <a:cs typeface="Arial"/>
              </a:rPr>
              <a:t>The entire ecosystem is ramping up investment in digital health as we’ve seen record breaking funding </a:t>
            </a:r>
          </a:p>
          <a:p>
            <a:pPr marL="631908" lvl="1" indent="-174708" defTabSz="931774">
              <a:buFont typeface="Arial" panose="020B0604020202020204" pitchFamily="34" charset="0"/>
              <a:buChar char="•"/>
              <a:defRPr/>
            </a:pPr>
            <a:r>
              <a:rPr lang="en-US" sz="1000" dirty="0">
                <a:latin typeface="Arial"/>
                <a:cs typeface="Arial"/>
              </a:rPr>
              <a:t>Despite the margin pressures they experienced in 2020, provider CFOs rate digital transformation as their number one priority in a BDO survey. </a:t>
            </a:r>
          </a:p>
          <a:p>
            <a:pPr marL="631908" lvl="1" indent="-174708">
              <a:buFont typeface="Arial" panose="020B0604020202020204" pitchFamily="34" charset="0"/>
              <a:buChar char="•"/>
            </a:pPr>
            <a:r>
              <a:rPr lang="en-US" sz="1000" dirty="0">
                <a:latin typeface="Arial"/>
                <a:cs typeface="Arial"/>
              </a:rPr>
              <a:t>An Advisory Board survey of strategic planners found that 78% of hospitals and health systems plan to increase capital investment in IT and digital health in 2021. In fact, it was the number one investment for organizations of every kind, including large systems, small systems, community hospitals, specialty hospitals, and physician groups. </a:t>
            </a:r>
            <a:endParaRPr lang="en-US" sz="1000" strike="noStrike" dirty="0">
              <a:latin typeface="Arial"/>
              <a:cs typeface="Arial"/>
            </a:endParaRPr>
          </a:p>
          <a:p>
            <a:pPr marL="631908" lvl="1" indent="-174708">
              <a:buFont typeface="Arial" panose="020B0604020202020204" pitchFamily="34" charset="0"/>
              <a:buChar char="•"/>
            </a:pPr>
            <a:r>
              <a:rPr lang="en-US" sz="1000" strike="noStrike" dirty="0">
                <a:latin typeface="Arial"/>
                <a:cs typeface="Arial"/>
              </a:rPr>
              <a:t>At the same time, 71% of employers are accelerating deployment of virtual care offerings to their employees. </a:t>
            </a:r>
          </a:p>
          <a:p>
            <a:pPr marL="174708" lvl="0" indent="-174708">
              <a:buFont typeface="Arial" panose="020B0604020202020204" pitchFamily="34" charset="0"/>
              <a:buChar char="•"/>
            </a:pPr>
            <a:r>
              <a:rPr lang="en-US" sz="1000" i="1" u="sng" strike="noStrike" dirty="0">
                <a:latin typeface="Arial"/>
                <a:cs typeface="Arial"/>
              </a:rPr>
              <a:t>Transition: </a:t>
            </a:r>
            <a:r>
              <a:rPr lang="en-US" sz="1000" i="1" strike="noStrike" dirty="0">
                <a:latin typeface="Arial"/>
                <a:cs typeface="Arial"/>
              </a:rPr>
              <a:t>It’s clear that digital health is only becoming more and more common, so lacking a digital equity perspective will be detrimental to certain patient populations.</a:t>
            </a:r>
          </a:p>
          <a:p>
            <a:pPr marL="174708" indent="-174708">
              <a:buFontTx/>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6</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3768165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r>
              <a:rPr lang="en-US" sz="1000" b="1" dirty="0">
                <a:latin typeface="Arial"/>
                <a:cs typeface="Arial"/>
              </a:rPr>
              <a:t>As health care prioritizes investment in digital transformation,  we have to acknowledge that these investments to date have not had a significant impact on access for those patients that health care has traditionally left behind.</a:t>
            </a:r>
            <a:endParaRPr lang="en-US" sz="1000" dirty="0">
              <a:latin typeface="Arial"/>
              <a:cs typeface="Arial"/>
            </a:endParaRPr>
          </a:p>
          <a:p>
            <a:pPr marL="631908" lvl="1" indent="-174708">
              <a:buFont typeface="Arial" panose="020B0604020202020204" pitchFamily="34" charset="0"/>
              <a:buChar char="•"/>
            </a:pPr>
            <a:r>
              <a:rPr lang="en-US" sz="1000" dirty="0">
                <a:latin typeface="Arial"/>
                <a:cs typeface="Arial"/>
              </a:rPr>
              <a:t>We see here that digital inequities exist across the health care ecosystem, wherein: </a:t>
            </a:r>
          </a:p>
          <a:p>
            <a:pPr marL="1097794" lvl="2" indent="-174708">
              <a:buFont typeface="Arial" panose="020B0604020202020204" pitchFamily="34" charset="0"/>
              <a:buChar char="•"/>
            </a:pPr>
            <a:r>
              <a:rPr lang="en-US" sz="1000" dirty="0">
                <a:latin typeface="Arial"/>
                <a:cs typeface="Arial"/>
              </a:rPr>
              <a:t>Lower-income patients use telehealth far less than those in higher socioeconomic brackets </a:t>
            </a:r>
          </a:p>
          <a:p>
            <a:pPr marL="1097794" lvl="2" indent="-174708">
              <a:buFont typeface="Arial" panose="020B0604020202020204" pitchFamily="34" charset="0"/>
              <a:buChar char="•"/>
            </a:pPr>
            <a:r>
              <a:rPr lang="en-US" sz="1000" dirty="0">
                <a:latin typeface="Arial"/>
                <a:cs typeface="Arial"/>
              </a:rPr>
              <a:t>Rural patients – who often seem like the ideal users of telehealth – struggle to use virtual care because of bandwidth access </a:t>
            </a:r>
          </a:p>
          <a:p>
            <a:pPr marL="1097794" lvl="2" indent="-174708">
              <a:buFont typeface="Arial" panose="020B0604020202020204" pitchFamily="34" charset="0"/>
              <a:buChar char="•"/>
            </a:pPr>
            <a:r>
              <a:rPr lang="en-US" sz="1000" dirty="0">
                <a:latin typeface="Arial"/>
                <a:cs typeface="Arial"/>
              </a:rPr>
              <a:t>Non-white patients struggle to engage with telemedicine, even in settings built to cater to their needs</a:t>
            </a:r>
          </a:p>
          <a:p>
            <a:pPr marL="1097794" lvl="2" indent="-174708">
              <a:buFont typeface="Arial" panose="020B0604020202020204" pitchFamily="34" charset="0"/>
              <a:buChar char="•"/>
            </a:pPr>
            <a:r>
              <a:rPr lang="en-US" sz="1000" dirty="0">
                <a:latin typeface="Arial"/>
                <a:cs typeface="Arial"/>
              </a:rPr>
              <a:t>And data shows that patients who report using the internet at least once a day were more than 5x as likely to use a patient portal compared to those with limited internet skills/use</a:t>
            </a:r>
          </a:p>
          <a:p>
            <a:pPr marL="183394" lvl="0"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To understand these statistics, we need to investigate the foundational causes of digital inequity.</a:t>
            </a:r>
          </a:p>
          <a:p>
            <a:pPr marL="465887" lvl="1"/>
            <a:endParaRPr lang="en-US" sz="1000" strike="sngStrike" dirty="0">
              <a:latin typeface="Arial"/>
              <a:cs typeface="Arial"/>
            </a:endParaRPr>
          </a:p>
          <a:p>
            <a:pPr marL="174708" indent="-174708" defTabSz="931774">
              <a:buFontTx/>
              <a:buChar char="-"/>
              <a:defRP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7</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2833110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1774">
              <a:buFont typeface="Arial" panose="020B0604020202020204" pitchFamily="34" charset="0"/>
              <a:buChar char="•"/>
              <a:defRPr/>
            </a:pPr>
            <a:r>
              <a:rPr lang="en-US" sz="1000" b="1" dirty="0">
                <a:latin typeface="Arial"/>
                <a:cs typeface="Arial"/>
              </a:rPr>
              <a:t>Access is a primary issue that prevents patients from utilizing digital health solutions</a:t>
            </a:r>
          </a:p>
          <a:p>
            <a:pPr marL="631908" lvl="1" indent="-174708" defTabSz="931774">
              <a:buFont typeface="Arial"/>
              <a:buChar char="•"/>
              <a:defRPr/>
            </a:pPr>
            <a:r>
              <a:rPr lang="en-US" sz="1000" dirty="0">
                <a:latin typeface="Arial"/>
                <a:cs typeface="Arial"/>
              </a:rPr>
              <a:t>Going back to this diagram we saw a few slides earlier – these examples point to 2 helpful areas where you can better discern how digital inequity manifests– the first being the foundational issue of access and connectivity </a:t>
            </a:r>
          </a:p>
          <a:p>
            <a:pPr marL="174708" indent="-174708">
              <a:buFont typeface="Arial"/>
              <a:buChar char="•"/>
              <a:defRPr/>
            </a:pPr>
            <a:r>
              <a:rPr lang="en-US" sz="1000" dirty="0">
                <a:latin typeface="Arial"/>
                <a:cs typeface="Arial"/>
              </a:rPr>
              <a:t> </a:t>
            </a:r>
            <a:r>
              <a:rPr lang="en-US" sz="1000" i="1" u="sng" dirty="0">
                <a:latin typeface="Arial"/>
                <a:cs typeface="Arial"/>
              </a:rPr>
              <a:t>Transition: </a:t>
            </a:r>
            <a:r>
              <a:rPr lang="en-US" sz="1000" i="1" dirty="0">
                <a:latin typeface="Arial"/>
                <a:cs typeface="Arial"/>
              </a:rPr>
              <a:t>Lets take a closer look at these two elements</a:t>
            </a:r>
          </a:p>
        </p:txBody>
      </p:sp>
      <p:sp>
        <p:nvSpPr>
          <p:cNvPr id="4" name="Slide Number Placeholder 3"/>
          <p:cNvSpPr>
            <a:spLocks noGrp="1"/>
          </p:cNvSpPr>
          <p:nvPr>
            <p:ph type="sldNum" sz="quarter" idx="5"/>
          </p:nvPr>
        </p:nvSpPr>
        <p:spPr/>
        <p:txBody>
          <a:bodyPr/>
          <a:lstStyle/>
          <a:p>
            <a:pPr defTabSz="931774">
              <a:defRPr/>
            </a:pPr>
            <a:fld id="{0E79F9C1-6A3C-4B55-8C89-00C0FB1E22C3}" type="slidenum">
              <a:rPr lang="en-US">
                <a:solidFill>
                  <a:srgbClr val="323E48"/>
                </a:solidFill>
                <a:latin typeface="Arial" panose="020B0604020202020204" pitchFamily="34" charset="0"/>
              </a:rPr>
              <a:pPr defTabSz="931774">
                <a:defRPr/>
              </a:pPr>
              <a:t>8</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1253315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dirty="0">
                <a:latin typeface="Arial"/>
                <a:cs typeface="Arial"/>
              </a:rPr>
              <a:t>It’s easy to think of broadband connectivity as a rural infrastructure issue – which it is – but the problem persists even in urban settings.</a:t>
            </a:r>
          </a:p>
          <a:p>
            <a:pPr marL="631908" lvl="1" indent="-174708">
              <a:buFont typeface="Arial" panose="020B0604020202020204" pitchFamily="34" charset="0"/>
              <a:buChar char="•"/>
            </a:pPr>
            <a:r>
              <a:rPr lang="en-US" sz="1000" dirty="0">
                <a:latin typeface="Arial"/>
                <a:cs typeface="Arial"/>
              </a:rPr>
              <a:t> Rural broadband </a:t>
            </a:r>
            <a:r>
              <a:rPr lang="en-US" sz="1000" b="1" i="0" u="sng" dirty="0">
                <a:latin typeface="Arial"/>
                <a:cs typeface="Arial"/>
              </a:rPr>
              <a:t>is</a:t>
            </a:r>
            <a:r>
              <a:rPr lang="en-US" sz="1000" dirty="0">
                <a:latin typeface="Arial"/>
                <a:cs typeface="Arial"/>
              </a:rPr>
              <a:t> a problem; we shared a statistic earlier that fewer than 40% of patients who live more than 70 mins from a primary care provider have the necessary bandwidth to conduct a video visit. </a:t>
            </a:r>
          </a:p>
          <a:p>
            <a:pPr marL="631908" lvl="1" indent="-174708">
              <a:buFont typeface="Arial" panose="020B0604020202020204" pitchFamily="34" charset="0"/>
              <a:buChar char="•"/>
            </a:pPr>
            <a:r>
              <a:rPr lang="en-US" sz="1000" dirty="0">
                <a:latin typeface="Arial"/>
                <a:cs typeface="Arial"/>
              </a:rPr>
              <a:t>But just because a patient lives in an urban area, that doesn’t mean they have a strong connection. We’ve got several examples on this slide: For example, New York City: 2.2 million people without broadband at home. Detroit: 40 percent of households, completely offline. No broadband and no cellular connection. </a:t>
            </a:r>
          </a:p>
          <a:p>
            <a:pPr marL="631908" lvl="1" indent="-174708">
              <a:buFont typeface="Arial" panose="020B0604020202020204" pitchFamily="34" charset="0"/>
              <a:buChar char="•"/>
            </a:pPr>
            <a:r>
              <a:rPr lang="en-US" sz="1000" dirty="0">
                <a:latin typeface="Arial"/>
                <a:cs typeface="Arial"/>
              </a:rPr>
              <a:t>We also have to mention how many underserved populations are also struggling with digital redlining—when access and latency improve as you get closer to wealthy neighborhoods. We read about documented instances of this in Cleveland, Oakland, Los Angeles, Dallas, and other large cities. </a:t>
            </a:r>
          </a:p>
          <a:p>
            <a:pPr marL="174708" indent="-174708">
              <a:buFont typeface="Arial" panose="020B0604020202020204" pitchFamily="34" charset="0"/>
              <a:buChar char="•"/>
            </a:pPr>
            <a:r>
              <a:rPr lang="en-US" sz="1000" i="1" u="sng" dirty="0">
                <a:latin typeface="Arial"/>
                <a:cs typeface="Arial"/>
              </a:rPr>
              <a:t>Transition: </a:t>
            </a:r>
            <a:r>
              <a:rPr lang="en-US" sz="1000" i="1" dirty="0">
                <a:latin typeface="Arial"/>
                <a:cs typeface="Arial"/>
              </a:rPr>
              <a:t>Now we’re just talking about access so far, but what about affordability?</a:t>
            </a:r>
          </a:p>
          <a:p>
            <a:pPr marL="174708" indent="-174708">
              <a:buFontTx/>
              <a:buChar char="-"/>
            </a:pPr>
            <a:endParaRPr lang="en-US" sz="1000" dirty="0">
              <a:cs typeface="Arial"/>
            </a:endParaRPr>
          </a:p>
        </p:txBody>
      </p:sp>
      <p:sp>
        <p:nvSpPr>
          <p:cNvPr id="4" name="Slide Number Placeholder 3"/>
          <p:cNvSpPr>
            <a:spLocks noGrp="1"/>
          </p:cNvSpPr>
          <p:nvPr>
            <p:ph type="sldNum" sz="quarter" idx="5"/>
          </p:nvPr>
        </p:nvSpPr>
        <p:spPr/>
        <p:txBody>
          <a:bodyPr/>
          <a:lstStyle/>
          <a:p>
            <a:pPr defTabSz="931774">
              <a:defRPr/>
            </a:pPr>
            <a:fld id="{7FF24B80-FBB1-4894-9C1C-0E4C2627BD38}" type="slidenum">
              <a:rPr lang="en-US">
                <a:solidFill>
                  <a:srgbClr val="323E48"/>
                </a:solidFill>
                <a:latin typeface="Arial" panose="020B0604020202020204" pitchFamily="34" charset="0"/>
              </a:rPr>
              <a:pPr defTabSz="931774">
                <a:defRPr/>
              </a:pPr>
              <a:t>9</a:t>
            </a:fld>
            <a:endParaRPr lang="en-US">
              <a:solidFill>
                <a:srgbClr val="323E48"/>
              </a:solidFill>
              <a:latin typeface="Arial" panose="020B0604020202020204" pitchFamily="34" charset="0"/>
            </a:endParaRPr>
          </a:p>
        </p:txBody>
      </p:sp>
    </p:spTree>
    <p:extLst>
      <p:ext uri="{BB962C8B-B14F-4D97-AF65-F5344CB8AC3E}">
        <p14:creationId xmlns:p14="http://schemas.microsoft.com/office/powerpoint/2010/main" val="6863679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hyperlink" Target="http://www.advisory.com/"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14" name="Rectangle 13"/>
          <p:cNvSpPr/>
          <p:nvPr userDrawn="1"/>
        </p:nvSpPr>
        <p:spPr bwMode="gray">
          <a:xfrm>
            <a:off x="0" y="634575"/>
            <a:ext cx="4556043" cy="6223427"/>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15" name="TextBox 14"/>
          <p:cNvSpPr txBox="1"/>
          <p:nvPr userDrawn="1"/>
        </p:nvSpPr>
        <p:spPr bwMode="gray">
          <a:xfrm>
            <a:off x="921382" y="2197121"/>
            <a:ext cx="2955859" cy="989823"/>
          </a:xfrm>
          <a:prstGeom prst="rect">
            <a:avLst/>
          </a:prstGeom>
          <a:noFill/>
        </p:spPr>
        <p:txBody>
          <a:bodyPr wrap="square" lIns="0" tIns="0" rIns="0" bIns="0" rtlCol="0">
            <a:spAutoFit/>
          </a:bodyPr>
          <a:lstStyle/>
          <a:p>
            <a:pPr algn="l">
              <a:spcBef>
                <a:spcPts val="714"/>
              </a:spcBef>
            </a:pPr>
            <a:r>
              <a:rPr lang="en-US" sz="3573" b="1">
                <a:solidFill>
                  <a:schemeClr val="bg1"/>
                </a:solidFill>
              </a:rPr>
              <a:t>16:9</a:t>
            </a:r>
            <a:br>
              <a:rPr lang="en-US" sz="3573" b="1">
                <a:solidFill>
                  <a:schemeClr val="bg1"/>
                </a:solidFill>
              </a:rPr>
            </a:br>
            <a:r>
              <a:rPr lang="en-US" sz="2859" b="0">
                <a:solidFill>
                  <a:schemeClr val="bg1"/>
                </a:solidFill>
              </a:rPr>
              <a:t>projection</a:t>
            </a:r>
          </a:p>
        </p:txBody>
      </p:sp>
      <p:cxnSp>
        <p:nvCxnSpPr>
          <p:cNvPr id="16" name="Straight Connector 15"/>
          <p:cNvCxnSpPr/>
          <p:nvPr userDrawn="1"/>
        </p:nvCxnSpPr>
        <p:spPr bwMode="white">
          <a:xfrm>
            <a:off x="931897" y="3437853"/>
            <a:ext cx="314735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931897" y="3549730"/>
            <a:ext cx="3147351" cy="241733"/>
          </a:xfrm>
          <a:prstGeom prst="rect">
            <a:avLst/>
          </a:prstGeom>
          <a:noFill/>
        </p:spPr>
        <p:txBody>
          <a:bodyPr wrap="square" lIns="0" tIns="0" rIns="0" bIns="0" rtlCol="0">
            <a:spAutoFit/>
          </a:bodyPr>
          <a:lstStyle/>
          <a:p>
            <a:pPr>
              <a:spcBef>
                <a:spcPts val="714"/>
              </a:spcBef>
            </a:pPr>
            <a:r>
              <a:rPr lang="pt-BR" sz="1571">
                <a:solidFill>
                  <a:schemeClr val="bg1"/>
                </a:solidFill>
              </a:rPr>
              <a:t>All projected presentations:</a:t>
            </a:r>
          </a:p>
        </p:txBody>
      </p:sp>
      <p:sp>
        <p:nvSpPr>
          <p:cNvPr id="18" name="TextBox 17"/>
          <p:cNvSpPr txBox="1"/>
          <p:nvPr userDrawn="1"/>
        </p:nvSpPr>
        <p:spPr bwMode="gray">
          <a:xfrm>
            <a:off x="1195101" y="3984318"/>
            <a:ext cx="1921913" cy="1149033"/>
          </a:xfrm>
          <a:prstGeom prst="rect">
            <a:avLst/>
          </a:prstGeom>
          <a:noFill/>
        </p:spPr>
        <p:txBody>
          <a:bodyPr wrap="square" lIns="0" tIns="0" rIns="0" bIns="0" rtlCol="0">
            <a:spAutoFit/>
          </a:bodyPr>
          <a:lstStyle/>
          <a:p>
            <a:pPr marL="161086" indent="-161086">
              <a:spcBef>
                <a:spcPts val="714"/>
              </a:spcBef>
              <a:buFont typeface="Arial" panose="020B0604020202020204" pitchFamily="34" charset="0"/>
              <a:buChar char="•"/>
            </a:pPr>
            <a:r>
              <a:rPr lang="en-US" sz="1429">
                <a:solidFill>
                  <a:schemeClr val="bg1"/>
                </a:solidFill>
              </a:rPr>
              <a:t>National meetings</a:t>
            </a:r>
          </a:p>
          <a:p>
            <a:pPr marL="161086" indent="-161086">
              <a:spcBef>
                <a:spcPts val="714"/>
              </a:spcBef>
              <a:buFont typeface="Arial" panose="020B0604020202020204" pitchFamily="34" charset="0"/>
              <a:buChar char="•"/>
            </a:pPr>
            <a:r>
              <a:rPr lang="en-US" sz="1429">
                <a:solidFill>
                  <a:schemeClr val="bg1"/>
                </a:solidFill>
              </a:rPr>
              <a:t>Webinars</a:t>
            </a:r>
          </a:p>
          <a:p>
            <a:pPr marL="161086" indent="-161086">
              <a:spcBef>
                <a:spcPts val="714"/>
              </a:spcBef>
              <a:buFont typeface="Arial" panose="020B0604020202020204" pitchFamily="34" charset="0"/>
              <a:buChar char="•"/>
            </a:pPr>
            <a:r>
              <a:rPr lang="en-US" sz="1429" err="1">
                <a:solidFill>
                  <a:schemeClr val="bg1"/>
                </a:solidFill>
              </a:rPr>
              <a:t>Onsites</a:t>
            </a:r>
            <a:endParaRPr lang="en-US" sz="1429">
              <a:solidFill>
                <a:schemeClr val="bg1"/>
              </a:solidFill>
            </a:endParaRPr>
          </a:p>
          <a:p>
            <a:pPr marL="161086" indent="-161086">
              <a:spcBef>
                <a:spcPts val="714"/>
              </a:spcBef>
              <a:buFont typeface="Arial" panose="020B0604020202020204" pitchFamily="34" charset="0"/>
              <a:buChar char="•"/>
            </a:pPr>
            <a:r>
              <a:rPr lang="en-US" sz="1429">
                <a:solidFill>
                  <a:schemeClr val="bg1"/>
                </a:solidFill>
              </a:rPr>
              <a:t>Conferences</a:t>
            </a:r>
          </a:p>
        </p:txBody>
      </p:sp>
      <p:sp>
        <p:nvSpPr>
          <p:cNvPr id="19" name="Rectangle 18"/>
          <p:cNvSpPr/>
          <p:nvPr userDrawn="1"/>
        </p:nvSpPr>
        <p:spPr bwMode="gray">
          <a:xfrm>
            <a:off x="0" y="876161"/>
            <a:ext cx="3877240" cy="1071016"/>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53692" y="965235"/>
            <a:ext cx="2363319" cy="901227"/>
          </a:xfrm>
          <a:prstGeom prst="rect">
            <a:avLst/>
          </a:prstGeom>
        </p:spPr>
      </p:pic>
      <p:sp>
        <p:nvSpPr>
          <p:cNvPr id="23" name="Rectangle 22"/>
          <p:cNvSpPr/>
          <p:nvPr userDrawn="1"/>
        </p:nvSpPr>
        <p:spPr bwMode="gray">
          <a:xfrm>
            <a:off x="-1" y="0"/>
            <a:ext cx="12192000" cy="574266"/>
          </a:xfrm>
          <a:prstGeom prst="rect">
            <a:avLst/>
          </a:prstGeom>
          <a:solidFill>
            <a:srgbClr val="00AEA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1714" b="1">
                <a:solidFill>
                  <a:schemeClr val="bg1"/>
                </a:solidFill>
              </a:rPr>
              <a:t>DELETE SLIDE AFTER READING | 2021</a:t>
            </a:r>
            <a:r>
              <a:rPr lang="en-US" sz="1714" b="1" baseline="0">
                <a:solidFill>
                  <a:schemeClr val="bg1"/>
                </a:solidFill>
              </a:rPr>
              <a:t> template edition</a:t>
            </a:r>
            <a:endParaRPr lang="en-US" sz="1714" b="1">
              <a:solidFill>
                <a:schemeClr val="bg1"/>
              </a:solidFill>
            </a:endParaRPr>
          </a:p>
        </p:txBody>
      </p:sp>
      <p:pic>
        <p:nvPicPr>
          <p:cNvPr id="13" name="Picture 12" descr="Graphical user interface, website&#10;&#10;Description automatically generated">
            <a:extLst>
              <a:ext uri="{FF2B5EF4-FFF2-40B4-BE49-F238E27FC236}">
                <a16:creationId xmlns:a16="http://schemas.microsoft.com/office/drawing/2014/main" id="{8850B7B2-27DB-40B6-9A54-AEE7AB4A83C2}"/>
              </a:ext>
            </a:extLst>
          </p:cNvPr>
          <p:cNvPicPr>
            <a:picLocks noChangeAspect="1"/>
          </p:cNvPicPr>
          <p:nvPr userDrawn="1"/>
        </p:nvPicPr>
        <p:blipFill>
          <a:blip r:embed="rId3"/>
          <a:stretch>
            <a:fillRect/>
          </a:stretch>
        </p:blipFill>
        <p:spPr>
          <a:xfrm>
            <a:off x="5109299" y="873901"/>
            <a:ext cx="6469926" cy="3636262"/>
          </a:xfrm>
          <a:prstGeom prst="rect">
            <a:avLst/>
          </a:prstGeom>
        </p:spPr>
      </p:pic>
      <p:sp>
        <p:nvSpPr>
          <p:cNvPr id="32" name="Rectangle 31">
            <a:extLst>
              <a:ext uri="{FF2B5EF4-FFF2-40B4-BE49-F238E27FC236}">
                <a16:creationId xmlns:a16="http://schemas.microsoft.com/office/drawing/2014/main" id="{DE6C2B85-E83D-4E0F-A467-31F0532908C4}"/>
              </a:ext>
            </a:extLst>
          </p:cNvPr>
          <p:cNvSpPr/>
          <p:nvPr userDrawn="1"/>
        </p:nvSpPr>
        <p:spPr bwMode="gray">
          <a:xfrm>
            <a:off x="5109299" y="4713205"/>
            <a:ext cx="6037217" cy="1890403"/>
          </a:xfrm>
          <a:prstGeom prst="rect">
            <a:avLst/>
          </a:prstGeom>
          <a:solidFill>
            <a:srgbClr val="00A25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a:spcBef>
                <a:spcPts val="500"/>
              </a:spcBef>
            </a:pPr>
            <a:endParaRPr lang="en-US" sz="1000" err="1">
              <a:solidFill>
                <a:schemeClr val="bg1"/>
              </a:solidFill>
            </a:endParaRPr>
          </a:p>
        </p:txBody>
      </p:sp>
      <p:sp>
        <p:nvSpPr>
          <p:cNvPr id="33" name="Rectangle 32">
            <a:extLst>
              <a:ext uri="{FF2B5EF4-FFF2-40B4-BE49-F238E27FC236}">
                <a16:creationId xmlns:a16="http://schemas.microsoft.com/office/drawing/2014/main" id="{4DBC27F3-86D2-4C3A-9729-D6207D797ACE}"/>
              </a:ext>
            </a:extLst>
          </p:cNvPr>
          <p:cNvSpPr/>
          <p:nvPr userDrawn="1"/>
        </p:nvSpPr>
        <p:spPr bwMode="gray">
          <a:xfrm>
            <a:off x="5268289" y="5196281"/>
            <a:ext cx="2863478" cy="1255975"/>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a:spcBef>
                <a:spcPts val="500"/>
              </a:spcBef>
            </a:pPr>
            <a:endParaRPr lang="en-US" sz="1000" err="1">
              <a:solidFill>
                <a:schemeClr val="bg1"/>
              </a:solidFill>
            </a:endParaRPr>
          </a:p>
        </p:txBody>
      </p:sp>
      <p:sp>
        <p:nvSpPr>
          <p:cNvPr id="34" name="TextBox 33">
            <a:extLst>
              <a:ext uri="{FF2B5EF4-FFF2-40B4-BE49-F238E27FC236}">
                <a16:creationId xmlns:a16="http://schemas.microsoft.com/office/drawing/2014/main" id="{4A11B187-88BE-4AA1-A17B-5DFF7C5A0206}"/>
              </a:ext>
            </a:extLst>
          </p:cNvPr>
          <p:cNvSpPr txBox="1"/>
          <p:nvPr userDrawn="1"/>
        </p:nvSpPr>
        <p:spPr>
          <a:xfrm>
            <a:off x="5268291" y="4839202"/>
            <a:ext cx="3284372" cy="203779"/>
          </a:xfrm>
          <a:prstGeom prst="rect">
            <a:avLst/>
          </a:prstGeom>
          <a:noFill/>
        </p:spPr>
        <p:txBody>
          <a:bodyPr wrap="square" lIns="0" tIns="0" rIns="0" bIns="0" rtlCol="0">
            <a:noAutofit/>
          </a:bodyPr>
          <a:lstStyle/>
          <a:p>
            <a:pPr>
              <a:spcBef>
                <a:spcPts val="500"/>
              </a:spcBef>
            </a:pPr>
            <a:r>
              <a:rPr lang="en-US" sz="1600" b="1">
                <a:solidFill>
                  <a:schemeClr val="bg1"/>
                </a:solidFill>
              </a:rPr>
              <a:t>Full projection GLG</a:t>
            </a:r>
          </a:p>
        </p:txBody>
      </p:sp>
      <p:sp>
        <p:nvSpPr>
          <p:cNvPr id="35" name="Text Box 4">
            <a:extLst>
              <a:ext uri="{FF2B5EF4-FFF2-40B4-BE49-F238E27FC236}">
                <a16:creationId xmlns:a16="http://schemas.microsoft.com/office/drawing/2014/main" id="{376BD0C0-FCE4-4F74-823B-AAB4093EA3E3}"/>
              </a:ext>
            </a:extLst>
          </p:cNvPr>
          <p:cNvSpPr txBox="1">
            <a:spLocks noChangeArrowheads="1"/>
          </p:cNvSpPr>
          <p:nvPr userDrawn="1"/>
        </p:nvSpPr>
        <p:spPr bwMode="gray">
          <a:xfrm>
            <a:off x="5444525" y="6101198"/>
            <a:ext cx="257640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spcBef>
                <a:spcPts val="600"/>
              </a:spcBef>
            </a:pPr>
            <a:r>
              <a:rPr lang="en-US" sz="1000"/>
              <a:t>Select the following file: </a:t>
            </a:r>
            <a:r>
              <a:rPr lang="en-US" sz="1000" b="1"/>
              <a:t>ab1 projection </a:t>
            </a:r>
            <a:r>
              <a:rPr lang="en-US" sz="1000" b="1" err="1"/>
              <a:t>glg</a:t>
            </a:r>
            <a:endParaRPr lang="en-US" sz="1000"/>
          </a:p>
        </p:txBody>
      </p:sp>
      <p:sp>
        <p:nvSpPr>
          <p:cNvPr id="36" name="Text Box 4">
            <a:extLst>
              <a:ext uri="{FF2B5EF4-FFF2-40B4-BE49-F238E27FC236}">
                <a16:creationId xmlns:a16="http://schemas.microsoft.com/office/drawing/2014/main" id="{44980990-4FB9-4346-A6D4-D07076962288}"/>
              </a:ext>
            </a:extLst>
          </p:cNvPr>
          <p:cNvSpPr txBox="1">
            <a:spLocks noChangeArrowheads="1"/>
          </p:cNvSpPr>
          <p:nvPr userDrawn="1"/>
        </p:nvSpPr>
        <p:spPr bwMode="gray">
          <a:xfrm>
            <a:off x="5444527" y="5526058"/>
            <a:ext cx="24188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spcBef>
                <a:spcPts val="600"/>
              </a:spcBef>
            </a:pPr>
            <a:r>
              <a:rPr lang="en-US" sz="1200"/>
              <a:t>L:\public\share\ABC Templates and Resources\AB Template Suite</a:t>
            </a:r>
          </a:p>
        </p:txBody>
      </p:sp>
      <p:sp>
        <p:nvSpPr>
          <p:cNvPr id="37" name="TextBox 36">
            <a:extLst>
              <a:ext uri="{FF2B5EF4-FFF2-40B4-BE49-F238E27FC236}">
                <a16:creationId xmlns:a16="http://schemas.microsoft.com/office/drawing/2014/main" id="{B8DCB5DA-222A-404F-80C5-D97967001EB4}"/>
              </a:ext>
            </a:extLst>
          </p:cNvPr>
          <p:cNvSpPr txBox="1"/>
          <p:nvPr userDrawn="1"/>
        </p:nvSpPr>
        <p:spPr>
          <a:xfrm>
            <a:off x="5444525" y="5300968"/>
            <a:ext cx="1759463" cy="233614"/>
          </a:xfrm>
          <a:prstGeom prst="rect">
            <a:avLst/>
          </a:prstGeom>
          <a:noFill/>
        </p:spPr>
        <p:txBody>
          <a:bodyPr wrap="square" lIns="0" tIns="0" rIns="0" bIns="0" rtlCol="0">
            <a:noAutofit/>
          </a:bodyPr>
          <a:lstStyle/>
          <a:p>
            <a:pPr>
              <a:spcBef>
                <a:spcPts val="500"/>
              </a:spcBef>
            </a:pPr>
            <a:r>
              <a:rPr lang="en-US" sz="1200" b="1"/>
              <a:t>Access on Teams or at:</a:t>
            </a:r>
          </a:p>
        </p:txBody>
      </p:sp>
      <p:sp>
        <p:nvSpPr>
          <p:cNvPr id="38" name="TextBox 37">
            <a:extLst>
              <a:ext uri="{FF2B5EF4-FFF2-40B4-BE49-F238E27FC236}">
                <a16:creationId xmlns:a16="http://schemas.microsoft.com/office/drawing/2014/main" id="{8732A721-A9D1-438B-8F7B-1970553C79BC}"/>
              </a:ext>
            </a:extLst>
          </p:cNvPr>
          <p:cNvSpPr txBox="1"/>
          <p:nvPr userDrawn="1"/>
        </p:nvSpPr>
        <p:spPr>
          <a:xfrm>
            <a:off x="8317043" y="5182040"/>
            <a:ext cx="1206863" cy="188758"/>
          </a:xfrm>
          <a:prstGeom prst="rect">
            <a:avLst/>
          </a:prstGeom>
          <a:noFill/>
        </p:spPr>
        <p:txBody>
          <a:bodyPr wrap="square" lIns="0" tIns="0" rIns="0" bIns="0" rtlCol="0">
            <a:noAutofit/>
          </a:bodyPr>
          <a:lstStyle/>
          <a:p>
            <a:pPr>
              <a:spcBef>
                <a:spcPts val="500"/>
              </a:spcBef>
            </a:pPr>
            <a:r>
              <a:rPr lang="en-US" sz="1100" b="1">
                <a:solidFill>
                  <a:schemeClr val="bg1"/>
                </a:solidFill>
              </a:rPr>
              <a:t>Benefits include:</a:t>
            </a:r>
          </a:p>
        </p:txBody>
      </p:sp>
      <p:sp>
        <p:nvSpPr>
          <p:cNvPr id="39" name="TextBox 38">
            <a:extLst>
              <a:ext uri="{FF2B5EF4-FFF2-40B4-BE49-F238E27FC236}">
                <a16:creationId xmlns:a16="http://schemas.microsoft.com/office/drawing/2014/main" id="{9EE59B4B-6394-43FE-99C8-04132BB1A4FD}"/>
              </a:ext>
            </a:extLst>
          </p:cNvPr>
          <p:cNvSpPr txBox="1"/>
          <p:nvPr userDrawn="1"/>
        </p:nvSpPr>
        <p:spPr>
          <a:xfrm>
            <a:off x="8317043" y="5420161"/>
            <a:ext cx="1420619" cy="627502"/>
          </a:xfrm>
          <a:prstGeom prst="rect">
            <a:avLst/>
          </a:prstGeom>
          <a:noFill/>
        </p:spPr>
        <p:txBody>
          <a:bodyPr wrap="square" lIns="0" tIns="0" rIns="0" bIns="0" rtlCol="0">
            <a:noAutofit/>
          </a:bodyPr>
          <a:lstStyle/>
          <a:p>
            <a:pPr marL="114300" indent="-114300">
              <a:spcBef>
                <a:spcPts val="500"/>
              </a:spcBef>
              <a:buFont typeface="Arial" panose="020B0604020202020204" pitchFamily="34" charset="0"/>
              <a:buChar char="•"/>
            </a:pPr>
            <a:r>
              <a:rPr lang="en-US" sz="1000">
                <a:solidFill>
                  <a:schemeClr val="bg1"/>
                </a:solidFill>
              </a:rPr>
              <a:t>Default layouts</a:t>
            </a:r>
          </a:p>
          <a:p>
            <a:pPr marL="114300" indent="-114300">
              <a:spcBef>
                <a:spcPts val="500"/>
              </a:spcBef>
              <a:buFont typeface="Arial" panose="020B0604020202020204" pitchFamily="34" charset="0"/>
              <a:buChar char="•"/>
            </a:pPr>
            <a:r>
              <a:rPr lang="en-US" sz="1000">
                <a:solidFill>
                  <a:schemeClr val="bg1"/>
                </a:solidFill>
              </a:rPr>
              <a:t>Impact layouts</a:t>
            </a:r>
          </a:p>
          <a:p>
            <a:pPr marL="114300" indent="-114300">
              <a:spcBef>
                <a:spcPts val="500"/>
              </a:spcBef>
              <a:buFont typeface="Arial" panose="020B0604020202020204" pitchFamily="34" charset="0"/>
              <a:buChar char="•"/>
            </a:pPr>
            <a:r>
              <a:rPr lang="en-US" sz="1000">
                <a:solidFill>
                  <a:schemeClr val="bg1"/>
                </a:solidFill>
              </a:rPr>
              <a:t>Graphical objects</a:t>
            </a:r>
          </a:p>
        </p:txBody>
      </p:sp>
      <p:sp>
        <p:nvSpPr>
          <p:cNvPr id="40" name="TextBox 39">
            <a:extLst>
              <a:ext uri="{FF2B5EF4-FFF2-40B4-BE49-F238E27FC236}">
                <a16:creationId xmlns:a16="http://schemas.microsoft.com/office/drawing/2014/main" id="{D8F3C44A-8158-4660-B67A-AB39C496DE77}"/>
              </a:ext>
            </a:extLst>
          </p:cNvPr>
          <p:cNvSpPr txBox="1"/>
          <p:nvPr userDrawn="1"/>
        </p:nvSpPr>
        <p:spPr>
          <a:xfrm>
            <a:off x="9676678" y="5420161"/>
            <a:ext cx="1420619" cy="627502"/>
          </a:xfrm>
          <a:prstGeom prst="rect">
            <a:avLst/>
          </a:prstGeom>
          <a:noFill/>
        </p:spPr>
        <p:txBody>
          <a:bodyPr wrap="square" lIns="0" tIns="0" rIns="0" bIns="0" rtlCol="0">
            <a:noAutofit/>
          </a:bodyPr>
          <a:lstStyle/>
          <a:p>
            <a:pPr marL="114300" indent="-114300">
              <a:spcBef>
                <a:spcPts val="500"/>
              </a:spcBef>
              <a:buFont typeface="Arial" panose="020B0604020202020204" pitchFamily="34" charset="0"/>
              <a:buChar char="•"/>
            </a:pPr>
            <a:r>
              <a:rPr lang="en-US" sz="1000">
                <a:solidFill>
                  <a:schemeClr val="bg1"/>
                </a:solidFill>
              </a:rPr>
              <a:t>Design guidelines</a:t>
            </a:r>
          </a:p>
          <a:p>
            <a:pPr marL="114300" indent="-114300">
              <a:spcBef>
                <a:spcPts val="500"/>
              </a:spcBef>
              <a:buFont typeface="Arial" panose="020B0604020202020204" pitchFamily="34" charset="0"/>
              <a:buChar char="•"/>
            </a:pPr>
            <a:r>
              <a:rPr lang="en-US" sz="1000">
                <a:solidFill>
                  <a:schemeClr val="bg1"/>
                </a:solidFill>
              </a:rPr>
              <a:t>Photography layouts</a:t>
            </a:r>
          </a:p>
          <a:p>
            <a:pPr marL="114300" indent="-114300">
              <a:spcBef>
                <a:spcPts val="500"/>
              </a:spcBef>
              <a:buFont typeface="Arial" panose="020B0604020202020204" pitchFamily="34" charset="0"/>
              <a:buChar char="•"/>
            </a:pPr>
            <a:r>
              <a:rPr lang="en-US" sz="1000">
                <a:solidFill>
                  <a:schemeClr val="bg1"/>
                </a:solidFill>
              </a:rPr>
              <a:t>High-end design</a:t>
            </a:r>
          </a:p>
        </p:txBody>
      </p:sp>
    </p:spTree>
    <p:extLst>
      <p:ext uri="{BB962C8B-B14F-4D97-AF65-F5344CB8AC3E}">
        <p14:creationId xmlns:p14="http://schemas.microsoft.com/office/powerpoint/2010/main" val="13844231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esentation End">
    <p:bg bwMode="gray">
      <p:bgPr>
        <a:solidFill>
          <a:schemeClr val="tx1"/>
        </a:solidFill>
        <a:effectLst/>
      </p:bgPr>
    </p:bg>
    <p:spTree>
      <p:nvGrpSpPr>
        <p:cNvPr id="1" name=""/>
        <p:cNvGrpSpPr/>
        <p:nvPr/>
      </p:nvGrpSpPr>
      <p:grpSpPr>
        <a:xfrm>
          <a:off x="0" y="0"/>
          <a:ext cx="0" cy="0"/>
          <a:chOff x="0" y="0"/>
          <a:chExt cx="0" cy="0"/>
        </a:xfrm>
      </p:grpSpPr>
      <p:sp>
        <p:nvSpPr>
          <p:cNvPr id="8" name="Parallelogram 7">
            <a:extLst>
              <a:ext uri="{C183D7F6-B498-43B3-948B-1728B52AA6E4}">
                <adec:decorative xmlns:adec="http://schemas.microsoft.com/office/drawing/2017/decorative" val="1"/>
              </a:ext>
            </a:extLst>
          </p:cNvPr>
          <p:cNvSpPr>
            <a:spLocks noChangeAspect="1"/>
          </p:cNvSpPr>
          <p:nvPr userDrawn="1"/>
        </p:nvSpPr>
        <p:spPr bwMode="gray">
          <a:xfrm flipH="1">
            <a:off x="1710250" y="0"/>
            <a:ext cx="8771501" cy="6858000"/>
          </a:xfrm>
          <a:prstGeom prst="parallelogram">
            <a:avLst>
              <a:gd name="adj" fmla="val 65186"/>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B81F0548-482E-4439-B7CA-4A67FDAC091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gray">
          <a:xfrm>
            <a:off x="4531359" y="2995791"/>
            <a:ext cx="3127248" cy="865850"/>
          </a:xfrm>
          <a:prstGeom prst="rect">
            <a:avLst/>
          </a:prstGeom>
        </p:spPr>
      </p:pic>
    </p:spTree>
    <p:extLst>
      <p:ext uri="{BB962C8B-B14F-4D97-AF65-F5344CB8AC3E}">
        <p14:creationId xmlns:p14="http://schemas.microsoft.com/office/powerpoint/2010/main" val="2047834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tandard">
    <p:spTree>
      <p:nvGrpSpPr>
        <p:cNvPr id="1" name=""/>
        <p:cNvGrpSpPr/>
        <p:nvPr/>
      </p:nvGrpSpPr>
      <p:grpSpPr>
        <a:xfrm>
          <a:off x="0" y="0"/>
          <a:ext cx="0" cy="0"/>
          <a:chOff x="0" y="0"/>
          <a:chExt cx="0" cy="0"/>
        </a:xfrm>
      </p:grpSpPr>
      <p:sp>
        <p:nvSpPr>
          <p:cNvPr id="29" name="Placeholder - Footnote"/>
          <p:cNvSpPr>
            <a:spLocks noGrp="1"/>
          </p:cNvSpPr>
          <p:nvPr>
            <p:ph type="body" sz="quarter" idx="28" hasCustomPrompt="1"/>
          </p:nvPr>
        </p:nvSpPr>
        <p:spPr bwMode="gray">
          <a:xfrm>
            <a:off x="612773" y="5952324"/>
            <a:ext cx="3657600" cy="215444"/>
          </a:xfrm>
        </p:spPr>
        <p:txBody>
          <a:bodyPr lIns="0" rIns="0" bIns="0" anchor="b" anchorCtr="0"/>
          <a:lstStyle>
            <a:lvl1pPr marL="115888" indent="-115888">
              <a:spcBef>
                <a:spcPts val="200"/>
              </a:spcBef>
              <a:buClr>
                <a:schemeClr val="accent2"/>
              </a:buClr>
              <a:buFont typeface="+mj-lt"/>
              <a:buAutoNum type="arabicPeriod"/>
              <a:defRPr lang="en-US" sz="700" kern="1200" baseline="0" dirty="0" smtClean="0">
                <a:solidFill>
                  <a:schemeClr val="accent2"/>
                </a:solidFill>
                <a:latin typeface="+mn-lt"/>
                <a:ea typeface="+mn-ea"/>
                <a:cs typeface="+mn-cs"/>
              </a:defRPr>
            </a:lvl1pPr>
            <a:lvl2pPr marL="114300" indent="0">
              <a:spcBef>
                <a:spcPts val="0"/>
              </a:spcBef>
              <a:buNone/>
              <a:defRPr sz="500"/>
            </a:lvl2pPr>
            <a:lvl3pPr marL="228600" indent="0">
              <a:spcBef>
                <a:spcPts val="0"/>
              </a:spcBef>
              <a:buNone/>
              <a:defRPr sz="500"/>
            </a:lvl3pPr>
            <a:lvl4pPr marL="342900" indent="0">
              <a:spcBef>
                <a:spcPts val="0"/>
              </a:spcBef>
              <a:buNone/>
              <a:defRPr sz="500"/>
            </a:lvl4pPr>
            <a:lvl5pPr marL="457200" indent="0">
              <a:spcBef>
                <a:spcPts val="0"/>
              </a:spcBef>
              <a:buNone/>
              <a:defRPr sz="500"/>
            </a:lvl5pPr>
          </a:lstStyle>
          <a:p>
            <a:pPr lvl="0"/>
            <a:r>
              <a:rPr lang="en-US"/>
              <a:t>Click to add footnote. Numbers appear automatically (no additional space or tab needed). Use a period at the end of each footnote. Stretch the box to the right as needed.</a:t>
            </a:r>
          </a:p>
        </p:txBody>
      </p:sp>
      <p:sp>
        <p:nvSpPr>
          <p:cNvPr id="27" name="Placeholder - Source"/>
          <p:cNvSpPr>
            <a:spLocks noGrp="1"/>
          </p:cNvSpPr>
          <p:nvPr>
            <p:ph type="body" sz="quarter" idx="27" hasCustomPrompt="1"/>
          </p:nvPr>
        </p:nvSpPr>
        <p:spPr bwMode="gray">
          <a:xfrm>
            <a:off x="8809022" y="5952324"/>
            <a:ext cx="2767408" cy="215444"/>
          </a:xfrm>
        </p:spPr>
        <p:txBody>
          <a:bodyPr rIns="0" bIns="0" anchor="b" anchorCtr="0"/>
          <a:lstStyle>
            <a:lvl1pPr marL="0" indent="0">
              <a:spcBef>
                <a:spcPts val="0"/>
              </a:spcBef>
              <a:buNone/>
              <a:defRPr sz="700" baseline="0">
                <a:solidFill>
                  <a:schemeClr val="accent2"/>
                </a:solidFill>
              </a:defRPr>
            </a:lvl1pPr>
            <a:lvl2pPr marL="114300" indent="0">
              <a:spcBef>
                <a:spcPts val="0"/>
              </a:spcBef>
              <a:buNone/>
              <a:defRPr sz="500"/>
            </a:lvl2pPr>
            <a:lvl3pPr marL="228600" indent="0">
              <a:spcBef>
                <a:spcPts val="0"/>
              </a:spcBef>
              <a:buNone/>
              <a:defRPr sz="500"/>
            </a:lvl3pPr>
            <a:lvl4pPr marL="342900" indent="0">
              <a:spcBef>
                <a:spcPts val="0"/>
              </a:spcBef>
              <a:buNone/>
              <a:defRPr sz="500"/>
            </a:lvl4pPr>
            <a:lvl5pPr marL="457200" indent="0">
              <a:spcBef>
                <a:spcPts val="0"/>
              </a:spcBef>
              <a:buNone/>
              <a:defRPr sz="500"/>
            </a:lvl5pPr>
          </a:lstStyle>
          <a:p>
            <a:pPr lvl="0"/>
            <a:r>
              <a:rPr lang="en-US"/>
              <a:t>Source: Click to add source. Use a single space after “Source:” and a period at the end of the source. Stretch the box to the left as needed.</a:t>
            </a:r>
          </a:p>
        </p:txBody>
      </p:sp>
      <p:sp>
        <p:nvSpPr>
          <p:cNvPr id="25" name="Placeholder - Slide Subtitle"/>
          <p:cNvSpPr>
            <a:spLocks noGrp="1"/>
          </p:cNvSpPr>
          <p:nvPr>
            <p:ph type="body" sz="quarter" idx="25" hasCustomPrompt="1"/>
          </p:nvPr>
        </p:nvSpPr>
        <p:spPr bwMode="gray">
          <a:xfrm>
            <a:off x="612773" y="1108422"/>
            <a:ext cx="10963656" cy="332399"/>
          </a:xfrm>
        </p:spPr>
        <p:txBody>
          <a:bodyPr/>
          <a:lstStyle>
            <a:lvl1pPr marL="0" indent="0">
              <a:lnSpc>
                <a:spcPct val="90000"/>
              </a:lnSpc>
              <a:spcBef>
                <a:spcPts val="0"/>
              </a:spcBef>
              <a:buNone/>
              <a:defRPr sz="2400">
                <a:solidFill>
                  <a:schemeClr val="accent3"/>
                </a:solidFill>
              </a:defRPr>
            </a:lvl1pPr>
            <a:lvl2pPr marL="114300" indent="0">
              <a:spcBef>
                <a:spcPts val="0"/>
              </a:spcBef>
              <a:buNone/>
              <a:defRPr sz="1400">
                <a:solidFill>
                  <a:schemeClr val="accent3"/>
                </a:solidFill>
              </a:defRPr>
            </a:lvl2pPr>
            <a:lvl3pPr marL="228600" indent="0">
              <a:spcBef>
                <a:spcPts val="0"/>
              </a:spcBef>
              <a:buNone/>
              <a:defRPr sz="1400">
                <a:solidFill>
                  <a:schemeClr val="accent3"/>
                </a:solidFill>
              </a:defRPr>
            </a:lvl3pPr>
            <a:lvl4pPr marL="342900" indent="0">
              <a:spcBef>
                <a:spcPts val="0"/>
              </a:spcBef>
              <a:buNone/>
              <a:defRPr sz="1400">
                <a:solidFill>
                  <a:schemeClr val="accent3"/>
                </a:solidFill>
              </a:defRPr>
            </a:lvl4pPr>
            <a:lvl5pPr marL="457200" indent="0">
              <a:spcBef>
                <a:spcPts val="0"/>
              </a:spcBef>
              <a:buNone/>
              <a:defRPr sz="1400">
                <a:solidFill>
                  <a:schemeClr val="accent3"/>
                </a:solidFill>
              </a:defRPr>
            </a:lvl5pPr>
          </a:lstStyle>
          <a:p>
            <a:pPr lvl="0"/>
            <a:r>
              <a:rPr lang="en-US"/>
              <a:t>Slide subtitle, Arial 24pt, sentence case</a:t>
            </a:r>
          </a:p>
        </p:txBody>
      </p:sp>
      <p:sp>
        <p:nvSpPr>
          <p:cNvPr id="2" name="Placeholder - Slide Title"/>
          <p:cNvSpPr>
            <a:spLocks noGrp="1"/>
          </p:cNvSpPr>
          <p:nvPr>
            <p:ph type="title" hasCustomPrompt="1"/>
          </p:nvPr>
        </p:nvSpPr>
        <p:spPr bwMode="gray">
          <a:xfrm>
            <a:off x="612773" y="613747"/>
            <a:ext cx="10966450" cy="443198"/>
          </a:xfrm>
        </p:spPr>
        <p:txBody>
          <a:bodyPr/>
          <a:lstStyle>
            <a:lvl1pPr>
              <a:defRPr/>
            </a:lvl1pPr>
          </a:lstStyle>
          <a:p>
            <a:r>
              <a:rPr lang="en-US"/>
              <a:t>Slide title, Arial 32pt, sentence case</a:t>
            </a:r>
          </a:p>
        </p:txBody>
      </p:sp>
      <p:sp>
        <p:nvSpPr>
          <p:cNvPr id="40" name="Slide Numbe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tx1"/>
                </a:solidFill>
                <a:latin typeface="+mn-lt"/>
                <a:cs typeface="Arial" panose="020B0604020202020204" pitchFamily="34" charset="0"/>
              </a:rPr>
              <a:t>‹#›</a:t>
            </a:fld>
            <a:endParaRPr lang="en-US" sz="1200" b="1">
              <a:solidFill>
                <a:schemeClr val="tx1"/>
              </a:solidFill>
              <a:latin typeface="+mn-lt"/>
            </a:endParaRPr>
          </a:p>
        </p:txBody>
      </p:sp>
      <p:pic>
        <p:nvPicPr>
          <p:cNvPr id="41" name="Advisory Board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12773" y="6287442"/>
            <a:ext cx="1050100" cy="291157"/>
          </a:xfrm>
          <a:prstGeom prst="rect">
            <a:avLst/>
          </a:prstGeom>
        </p:spPr>
      </p:pic>
      <p:sp>
        <p:nvSpPr>
          <p:cNvPr id="3" name="Date Placeholder 2"/>
          <p:cNvSpPr>
            <a:spLocks noGrp="1"/>
          </p:cNvSpPr>
          <p:nvPr>
            <p:ph type="dt" sz="half" idx="29"/>
          </p:nvPr>
        </p:nvSpPr>
        <p:spPr/>
        <p:txBody>
          <a:bodyPr/>
          <a:lstStyle/>
          <a:p>
            <a:fld id="{BAA56726-FCF3-4A2F-90E4-605E7867B4E8}" type="datetime1">
              <a:rPr lang="en-US" smtClean="0"/>
              <a:t>12/15/2022</a:t>
            </a:fld>
            <a:endParaRPr lang="en-US"/>
          </a:p>
        </p:txBody>
      </p:sp>
      <p:sp>
        <p:nvSpPr>
          <p:cNvPr id="4" name="Footer Placeholder 3"/>
          <p:cNvSpPr>
            <a:spLocks noGrp="1"/>
          </p:cNvSpPr>
          <p:nvPr>
            <p:ph type="ftr" sz="quarter" idx="30"/>
          </p:nvPr>
        </p:nvSpPr>
        <p:spPr/>
        <p:txBody>
          <a:bodyPr/>
          <a:lstStyle/>
          <a:p>
            <a:r>
              <a:rPr lang="en-US"/>
              <a:t>Projection Graphic and Layout Guide</a:t>
            </a:r>
          </a:p>
        </p:txBody>
      </p:sp>
      <p:sp>
        <p:nvSpPr>
          <p:cNvPr id="5" name="Slide Number Placeholder 4"/>
          <p:cNvSpPr>
            <a:spLocks noGrp="1"/>
          </p:cNvSpPr>
          <p:nvPr>
            <p:ph type="sldNum" sz="quarter" idx="31"/>
          </p:nvPr>
        </p:nvSpPr>
        <p:spPr/>
        <p:txBody>
          <a:bodyPr/>
          <a:lstStyle/>
          <a:p>
            <a:fld id="{79A09FC8-B54D-47FB-9034-F0587B1C3005}" type="slidenum">
              <a:rPr lang="en-US" smtClean="0"/>
              <a:pPr/>
              <a:t>‹#›</a:t>
            </a:fld>
            <a:endParaRPr lang="en-US"/>
          </a:p>
        </p:txBody>
      </p:sp>
      <p:grpSp>
        <p:nvGrpSpPr>
          <p:cNvPr id="8" name="Group 7"/>
          <p:cNvGrpSpPr/>
          <p:nvPr userDrawn="1"/>
        </p:nvGrpSpPr>
        <p:grpSpPr>
          <a:xfrm>
            <a:off x="1869054" y="6286830"/>
            <a:ext cx="9294461" cy="119596"/>
            <a:chOff x="1869054" y="6286830"/>
            <a:chExt cx="9294461" cy="119596"/>
          </a:xfrm>
        </p:grpSpPr>
        <p:grpSp>
          <p:nvGrpSpPr>
            <p:cNvPr id="43" name="Footer Bar"/>
            <p:cNvGrpSpPr/>
            <p:nvPr userDrawn="1"/>
          </p:nvGrpSpPr>
          <p:grpSpPr bwMode="gray">
            <a:xfrm>
              <a:off x="2145806" y="6287443"/>
              <a:ext cx="9017709" cy="118983"/>
              <a:chOff x="2145806" y="6133782"/>
              <a:chExt cx="9017709" cy="118983"/>
            </a:xfrm>
          </p:grpSpPr>
          <p:sp>
            <p:nvSpPr>
              <p:cNvPr id="44" name="Trapezoid 43"/>
              <p:cNvSpPr/>
              <p:nvPr userDrawn="1"/>
            </p:nvSpPr>
            <p:spPr bwMode="gray">
              <a:xfrm>
                <a:off x="2145806" y="6133782"/>
                <a:ext cx="4318965" cy="118981"/>
              </a:xfrm>
              <a:prstGeom prst="trapezoid">
                <a:avLst>
                  <a:gd name="adj" fmla="val 63026"/>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rapezoid 44"/>
              <p:cNvSpPr/>
              <p:nvPr userDrawn="1"/>
            </p:nvSpPr>
            <p:spPr bwMode="gray">
              <a:xfrm>
                <a:off x="5941850" y="6133782"/>
                <a:ext cx="607610" cy="118981"/>
              </a:xfrm>
              <a:prstGeom prst="trapezoid">
                <a:avLst>
                  <a:gd name="adj" fmla="val 63026"/>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rapezoid 45"/>
              <p:cNvSpPr/>
              <p:nvPr userDrawn="1"/>
            </p:nvSpPr>
            <p:spPr bwMode="gray">
              <a:xfrm rot="10800000">
                <a:off x="6159976" y="6133782"/>
                <a:ext cx="1027498" cy="118981"/>
              </a:xfrm>
              <a:prstGeom prst="trapezoid">
                <a:avLst>
                  <a:gd name="adj" fmla="val 63026"/>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rapezoid 46"/>
              <p:cNvSpPr/>
              <p:nvPr userDrawn="1"/>
            </p:nvSpPr>
            <p:spPr bwMode="gray">
              <a:xfrm>
                <a:off x="3206966" y="6133784"/>
                <a:ext cx="866525" cy="118981"/>
              </a:xfrm>
              <a:prstGeom prst="trapezoid">
                <a:avLst>
                  <a:gd name="adj" fmla="val 63026"/>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rapezoid 47"/>
              <p:cNvSpPr/>
              <p:nvPr userDrawn="1"/>
            </p:nvSpPr>
            <p:spPr bwMode="gray">
              <a:xfrm>
                <a:off x="10296990" y="6133784"/>
                <a:ext cx="866525" cy="118981"/>
              </a:xfrm>
              <a:prstGeom prst="trapezoid">
                <a:avLst>
                  <a:gd name="adj" fmla="val 63026"/>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rapezoid 48"/>
              <p:cNvSpPr/>
              <p:nvPr userDrawn="1"/>
            </p:nvSpPr>
            <p:spPr bwMode="gray">
              <a:xfrm>
                <a:off x="9518022" y="6133784"/>
                <a:ext cx="1094322" cy="118981"/>
              </a:xfrm>
              <a:prstGeom prst="trapezoid">
                <a:avLst>
                  <a:gd name="adj" fmla="val 63026"/>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rapezoid 49"/>
              <p:cNvSpPr/>
              <p:nvPr userDrawn="1"/>
            </p:nvSpPr>
            <p:spPr bwMode="gray">
              <a:xfrm rot="10800000">
                <a:off x="6938944" y="6133783"/>
                <a:ext cx="2676306" cy="118981"/>
              </a:xfrm>
              <a:prstGeom prst="trapezoid">
                <a:avLst>
                  <a:gd name="adj" fmla="val 63026"/>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Freeform 19"/>
            <p:cNvSpPr/>
            <p:nvPr userDrawn="1"/>
          </p:nvSpPr>
          <p:spPr bwMode="gray">
            <a:xfrm>
              <a:off x="1869054" y="6286830"/>
              <a:ext cx="506313" cy="119593"/>
            </a:xfrm>
            <a:custGeom>
              <a:avLst/>
              <a:gdLst>
                <a:gd name="connsiteX0" fmla="*/ 0 w 1729277"/>
                <a:gd name="connsiteY0" fmla="*/ 0 h 118872"/>
                <a:gd name="connsiteX1" fmla="*/ 1657324 w 1729277"/>
                <a:gd name="connsiteY1" fmla="*/ 0 h 118872"/>
                <a:gd name="connsiteX2" fmla="*/ 1729277 w 1729277"/>
                <a:gd name="connsiteY2" fmla="*/ 118872 h 118872"/>
                <a:gd name="connsiteX3" fmla="*/ 0 w 1729277"/>
                <a:gd name="connsiteY3" fmla="*/ 118872 h 118872"/>
                <a:gd name="connsiteX0" fmla="*/ 0 w 1729277"/>
                <a:gd name="connsiteY0" fmla="*/ 721 h 119593"/>
                <a:gd name="connsiteX1" fmla="*/ 1327342 w 1729277"/>
                <a:gd name="connsiteY1" fmla="*/ 0 h 119593"/>
                <a:gd name="connsiteX2" fmla="*/ 1657324 w 1729277"/>
                <a:gd name="connsiteY2" fmla="*/ 721 h 119593"/>
                <a:gd name="connsiteX3" fmla="*/ 1729277 w 1729277"/>
                <a:gd name="connsiteY3" fmla="*/ 119593 h 119593"/>
                <a:gd name="connsiteX4" fmla="*/ 0 w 1729277"/>
                <a:gd name="connsiteY4" fmla="*/ 119593 h 119593"/>
                <a:gd name="connsiteX5" fmla="*/ 0 w 1729277"/>
                <a:gd name="connsiteY5" fmla="*/ 721 h 119593"/>
                <a:gd name="connsiteX0" fmla="*/ 0 w 1729277"/>
                <a:gd name="connsiteY0" fmla="*/ 721 h 119593"/>
                <a:gd name="connsiteX1" fmla="*/ 1327342 w 1729277"/>
                <a:gd name="connsiteY1" fmla="*/ 0 h 119593"/>
                <a:gd name="connsiteX2" fmla="*/ 1657324 w 1729277"/>
                <a:gd name="connsiteY2" fmla="*/ 721 h 119593"/>
                <a:gd name="connsiteX3" fmla="*/ 1729277 w 1729277"/>
                <a:gd name="connsiteY3" fmla="*/ 119593 h 119593"/>
                <a:gd name="connsiteX4" fmla="*/ 1401554 w 1729277"/>
                <a:gd name="connsiteY4" fmla="*/ 119271 h 119593"/>
                <a:gd name="connsiteX5" fmla="*/ 0 w 1729277"/>
                <a:gd name="connsiteY5" fmla="*/ 119593 h 119593"/>
                <a:gd name="connsiteX6" fmla="*/ 0 w 1729277"/>
                <a:gd name="connsiteY6" fmla="*/ 721 h 119593"/>
                <a:gd name="connsiteX0" fmla="*/ 0 w 1729277"/>
                <a:gd name="connsiteY0" fmla="*/ 721 h 119593"/>
                <a:gd name="connsiteX1" fmla="*/ 1327342 w 1729277"/>
                <a:gd name="connsiteY1" fmla="*/ 0 h 119593"/>
                <a:gd name="connsiteX2" fmla="*/ 1657324 w 1729277"/>
                <a:gd name="connsiteY2" fmla="*/ 721 h 119593"/>
                <a:gd name="connsiteX3" fmla="*/ 1729277 w 1729277"/>
                <a:gd name="connsiteY3" fmla="*/ 119593 h 119593"/>
                <a:gd name="connsiteX4" fmla="*/ 1401554 w 1729277"/>
                <a:gd name="connsiteY4" fmla="*/ 119271 h 119593"/>
                <a:gd name="connsiteX5" fmla="*/ 0 w 1729277"/>
                <a:gd name="connsiteY5" fmla="*/ 721 h 119593"/>
                <a:gd name="connsiteX0" fmla="*/ 74212 w 401935"/>
                <a:gd name="connsiteY0" fmla="*/ 119271 h 119593"/>
                <a:gd name="connsiteX1" fmla="*/ 0 w 401935"/>
                <a:gd name="connsiteY1" fmla="*/ 0 h 119593"/>
                <a:gd name="connsiteX2" fmla="*/ 329982 w 401935"/>
                <a:gd name="connsiteY2" fmla="*/ 721 h 119593"/>
                <a:gd name="connsiteX3" fmla="*/ 401935 w 401935"/>
                <a:gd name="connsiteY3" fmla="*/ 119593 h 119593"/>
                <a:gd name="connsiteX4" fmla="*/ 74212 w 401935"/>
                <a:gd name="connsiteY4" fmla="*/ 119271 h 119593"/>
                <a:gd name="connsiteX0" fmla="*/ 598 w 401935"/>
                <a:gd name="connsiteY0" fmla="*/ 119271 h 119593"/>
                <a:gd name="connsiteX1" fmla="*/ 0 w 401935"/>
                <a:gd name="connsiteY1" fmla="*/ 0 h 119593"/>
                <a:gd name="connsiteX2" fmla="*/ 329982 w 401935"/>
                <a:gd name="connsiteY2" fmla="*/ 721 h 119593"/>
                <a:gd name="connsiteX3" fmla="*/ 401935 w 401935"/>
                <a:gd name="connsiteY3" fmla="*/ 119593 h 119593"/>
                <a:gd name="connsiteX4" fmla="*/ 598 w 401935"/>
                <a:gd name="connsiteY4" fmla="*/ 119271 h 119593"/>
                <a:gd name="connsiteX0" fmla="*/ 1 w 401338"/>
                <a:gd name="connsiteY0" fmla="*/ 119271 h 119593"/>
                <a:gd name="connsiteX1" fmla="*/ 71130 w 401338"/>
                <a:gd name="connsiteY1" fmla="*/ 0 h 119593"/>
                <a:gd name="connsiteX2" fmla="*/ 329385 w 401338"/>
                <a:gd name="connsiteY2" fmla="*/ 721 h 119593"/>
                <a:gd name="connsiteX3" fmla="*/ 401338 w 401338"/>
                <a:gd name="connsiteY3" fmla="*/ 119593 h 119593"/>
                <a:gd name="connsiteX4" fmla="*/ 1 w 401338"/>
                <a:gd name="connsiteY4" fmla="*/ 119271 h 119593"/>
                <a:gd name="connsiteX0" fmla="*/ 1 w 401338"/>
                <a:gd name="connsiteY0" fmla="*/ 119271 h 119593"/>
                <a:gd name="connsiteX1" fmla="*/ 71130 w 401338"/>
                <a:gd name="connsiteY1" fmla="*/ 0 h 119593"/>
                <a:gd name="connsiteX2" fmla="*/ 329385 w 401338"/>
                <a:gd name="connsiteY2" fmla="*/ 721 h 119593"/>
                <a:gd name="connsiteX3" fmla="*/ 401338 w 401338"/>
                <a:gd name="connsiteY3" fmla="*/ 119593 h 119593"/>
                <a:gd name="connsiteX4" fmla="*/ 1 w 401338"/>
                <a:gd name="connsiteY4" fmla="*/ 119271 h 119593"/>
                <a:gd name="connsiteX0" fmla="*/ 0 w 401337"/>
                <a:gd name="connsiteY0" fmla="*/ 119271 h 119593"/>
                <a:gd name="connsiteX1" fmla="*/ 71129 w 401337"/>
                <a:gd name="connsiteY1" fmla="*/ 0 h 119593"/>
                <a:gd name="connsiteX2" fmla="*/ 329384 w 401337"/>
                <a:gd name="connsiteY2" fmla="*/ 721 h 119593"/>
                <a:gd name="connsiteX3" fmla="*/ 401337 w 401337"/>
                <a:gd name="connsiteY3" fmla="*/ 119593 h 119593"/>
                <a:gd name="connsiteX4" fmla="*/ 0 w 401337"/>
                <a:gd name="connsiteY4" fmla="*/ 119271 h 119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337" h="119593">
                  <a:moveTo>
                    <a:pt x="0" y="119271"/>
                  </a:moveTo>
                  <a:lnTo>
                    <a:pt x="71129" y="0"/>
                  </a:lnTo>
                  <a:lnTo>
                    <a:pt x="329384" y="721"/>
                  </a:lnTo>
                  <a:lnTo>
                    <a:pt x="401337" y="119593"/>
                  </a:lnTo>
                  <a:lnTo>
                    <a:pt x="0" y="119271"/>
                  </a:lnTo>
                  <a:close/>
                </a:path>
              </a:pathLst>
            </a:cu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5439540"/>
      </p:ext>
    </p:extLst>
  </p:cSld>
  <p:clrMapOvr>
    <a:masterClrMapping/>
  </p:clrMapOvr>
  <p:extLst>
    <p:ext uri="{DCECCB84-F9BA-43D5-87BE-67443E8EF086}">
      <p15:sldGuideLst xmlns:p15="http://schemas.microsoft.com/office/powerpoint/2012/main">
        <p15:guide id="1" orient="horz" pos="3889">
          <p15:clr>
            <a:srgbClr val="FBAE40"/>
          </p15:clr>
        </p15:guide>
        <p15:guide id="2" orient="horz" pos="10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9" name="Placeholder - Footnote"/>
          <p:cNvSpPr>
            <a:spLocks noGrp="1"/>
          </p:cNvSpPr>
          <p:nvPr>
            <p:ph type="body" sz="quarter" idx="28" hasCustomPrompt="1"/>
          </p:nvPr>
        </p:nvSpPr>
        <p:spPr bwMode="gray">
          <a:xfrm>
            <a:off x="612773" y="5952324"/>
            <a:ext cx="3657600" cy="215444"/>
          </a:xfrm>
        </p:spPr>
        <p:txBody>
          <a:bodyPr lIns="0" rIns="0" bIns="0" anchor="b" anchorCtr="0"/>
          <a:lstStyle>
            <a:lvl1pPr marL="115888" indent="-115888">
              <a:spcBef>
                <a:spcPts val="200"/>
              </a:spcBef>
              <a:buClr>
                <a:schemeClr val="accent3"/>
              </a:buClr>
              <a:buFont typeface="+mj-lt"/>
              <a:buAutoNum type="arabicPeriod"/>
              <a:defRPr lang="en-US" sz="700" kern="1200" baseline="0" dirty="0" smtClean="0">
                <a:solidFill>
                  <a:schemeClr val="accent3"/>
                </a:solidFill>
                <a:latin typeface="+mn-lt"/>
                <a:ea typeface="+mn-ea"/>
                <a:cs typeface="+mn-cs"/>
              </a:defRPr>
            </a:lvl1pPr>
            <a:lvl2pPr marL="114300" indent="0">
              <a:spcBef>
                <a:spcPts val="0"/>
              </a:spcBef>
              <a:buNone/>
              <a:defRPr sz="500"/>
            </a:lvl2pPr>
            <a:lvl3pPr marL="228600" indent="0">
              <a:spcBef>
                <a:spcPts val="0"/>
              </a:spcBef>
              <a:buNone/>
              <a:defRPr sz="500"/>
            </a:lvl3pPr>
            <a:lvl4pPr marL="342900" indent="0">
              <a:spcBef>
                <a:spcPts val="0"/>
              </a:spcBef>
              <a:buNone/>
              <a:defRPr sz="500"/>
            </a:lvl4pPr>
            <a:lvl5pPr marL="457200" indent="0">
              <a:spcBef>
                <a:spcPts val="0"/>
              </a:spcBef>
              <a:buNone/>
              <a:defRPr sz="500"/>
            </a:lvl5pPr>
          </a:lstStyle>
          <a:p>
            <a:pPr lvl="0"/>
            <a:r>
              <a:rPr lang="en-US"/>
              <a:t>Click to add footnote. Numbers appear automatically (no additional space or tab needed). Use a period at the end of each footnote. Stretch the box to the right as needed.</a:t>
            </a:r>
          </a:p>
        </p:txBody>
      </p:sp>
      <p:sp>
        <p:nvSpPr>
          <p:cNvPr id="27" name="Placeholder - Source"/>
          <p:cNvSpPr>
            <a:spLocks noGrp="1"/>
          </p:cNvSpPr>
          <p:nvPr>
            <p:ph type="body" sz="quarter" idx="27" hasCustomPrompt="1"/>
          </p:nvPr>
        </p:nvSpPr>
        <p:spPr bwMode="gray">
          <a:xfrm>
            <a:off x="8809022" y="5952324"/>
            <a:ext cx="2767408" cy="215444"/>
          </a:xfrm>
        </p:spPr>
        <p:txBody>
          <a:bodyPr rIns="0" bIns="0" anchor="b" anchorCtr="0"/>
          <a:lstStyle>
            <a:lvl1pPr marL="0" indent="0">
              <a:spcBef>
                <a:spcPts val="0"/>
              </a:spcBef>
              <a:buNone/>
              <a:defRPr sz="700" baseline="0">
                <a:solidFill>
                  <a:schemeClr val="accent3"/>
                </a:solidFill>
              </a:defRPr>
            </a:lvl1pPr>
            <a:lvl2pPr marL="114300" indent="0">
              <a:spcBef>
                <a:spcPts val="0"/>
              </a:spcBef>
              <a:buNone/>
              <a:defRPr sz="500"/>
            </a:lvl2pPr>
            <a:lvl3pPr marL="228600" indent="0">
              <a:spcBef>
                <a:spcPts val="0"/>
              </a:spcBef>
              <a:buNone/>
              <a:defRPr sz="500"/>
            </a:lvl3pPr>
            <a:lvl4pPr marL="342900" indent="0">
              <a:spcBef>
                <a:spcPts val="0"/>
              </a:spcBef>
              <a:buNone/>
              <a:defRPr sz="500"/>
            </a:lvl4pPr>
            <a:lvl5pPr marL="457200" indent="0">
              <a:spcBef>
                <a:spcPts val="0"/>
              </a:spcBef>
              <a:buNone/>
              <a:defRPr sz="500"/>
            </a:lvl5pPr>
          </a:lstStyle>
          <a:p>
            <a:pPr lvl="0"/>
            <a:r>
              <a:rPr lang="en-US"/>
              <a:t>Source: Click to add source. Use a single space after “Source:” and a period at the end of the source. Stretch the box to the left as needed.</a:t>
            </a:r>
          </a:p>
        </p:txBody>
      </p:sp>
      <p:sp>
        <p:nvSpPr>
          <p:cNvPr id="2" name="Title 1"/>
          <p:cNvSpPr>
            <a:spLocks noGrp="1"/>
          </p:cNvSpPr>
          <p:nvPr>
            <p:ph type="title" hasCustomPrompt="1"/>
          </p:nvPr>
        </p:nvSpPr>
        <p:spPr bwMode="gray">
          <a:xfrm>
            <a:off x="612774" y="588771"/>
            <a:ext cx="10972801" cy="540917"/>
          </a:xfrm>
        </p:spPr>
        <p:txBody>
          <a:bodyPr/>
          <a:lstStyle>
            <a:lvl1pPr>
              <a:defRPr/>
            </a:lvl1pPr>
          </a:lstStyle>
          <a:p>
            <a:r>
              <a:rPr lang="en-US"/>
              <a:t>Slide title, Times New Roman 38pt, sentence case</a:t>
            </a:r>
          </a:p>
        </p:txBody>
      </p:sp>
      <p:sp>
        <p:nvSpPr>
          <p:cNvPr id="228" name="Slide Number">
            <a:extLst>
              <a:ext uri="{FF2B5EF4-FFF2-40B4-BE49-F238E27FC236}">
                <a16:creationId xmlns:a16="http://schemas.microsoft.com/office/drawing/2014/main" id="{32F00C1D-B606-44BC-A70C-599AD1779AC9}"/>
              </a:ext>
            </a:extLst>
          </p:cNvP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accent4"/>
                </a:solidFill>
                <a:latin typeface="+mn-lt"/>
                <a:cs typeface="Arial" panose="020B0604020202020204" pitchFamily="34" charset="0"/>
              </a:rPr>
              <a:t>‹#›</a:t>
            </a:fld>
            <a:endParaRPr lang="en-US" sz="1200" b="1">
              <a:solidFill>
                <a:schemeClr val="accent4"/>
              </a:solidFill>
              <a:latin typeface="+mn-lt"/>
            </a:endParaRPr>
          </a:p>
        </p:txBody>
      </p:sp>
      <p:pic>
        <p:nvPicPr>
          <p:cNvPr id="229" name="Graphic 228">
            <a:extLst>
              <a:ext uri="{FF2B5EF4-FFF2-40B4-BE49-F238E27FC236}">
                <a16:creationId xmlns:a16="http://schemas.microsoft.com/office/drawing/2014/main" id="{EC5DBFAD-83A3-48FD-AE5A-C5DDE87105D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gray">
          <a:xfrm>
            <a:off x="609601" y="6273198"/>
            <a:ext cx="1051558" cy="291148"/>
          </a:xfrm>
          <a:prstGeom prst="rect">
            <a:avLst/>
          </a:prstGeom>
        </p:spPr>
      </p:pic>
      <p:pic>
        <p:nvPicPr>
          <p:cNvPr id="196" name="Graphic 195">
            <a:extLst>
              <a:ext uri="{FF2B5EF4-FFF2-40B4-BE49-F238E27FC236}">
                <a16:creationId xmlns:a16="http://schemas.microsoft.com/office/drawing/2014/main" id="{CB71F512-DF86-4D8A-8A82-08F0E2494B8E}"/>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896065" y="6311465"/>
            <a:ext cx="9281141" cy="101571"/>
          </a:xfrm>
          <a:prstGeom prst="rect">
            <a:avLst/>
          </a:prstGeom>
        </p:spPr>
      </p:pic>
    </p:spTree>
    <p:extLst>
      <p:ext uri="{BB962C8B-B14F-4D97-AF65-F5344CB8AC3E}">
        <p14:creationId xmlns:p14="http://schemas.microsoft.com/office/powerpoint/2010/main" val="1029463974"/>
      </p:ext>
    </p:extLst>
  </p:cSld>
  <p:clrMapOvr>
    <a:masterClrMapping/>
  </p:clrMapOvr>
  <p:extLst>
    <p:ext uri="{DCECCB84-F9BA-43D5-87BE-67443E8EF086}">
      <p15:sldGuideLst xmlns:p15="http://schemas.microsoft.com/office/powerpoint/2012/main">
        <p15:guide id="1" orient="horz" pos="3889">
          <p15:clr>
            <a:srgbClr val="FBAE40"/>
          </p15:clr>
        </p15:guide>
        <p15:guide id="2" orient="horz" pos="10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p:bg bwMode="gray">
      <p:bgPr>
        <a:solidFill>
          <a:schemeClr val="tx1"/>
        </a:solidFill>
        <a:effectLst/>
      </p:bgPr>
    </p:bg>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5845CF1B-F1E6-4531-97D7-A0009C32A28C}"/>
              </a:ext>
              <a:ext uri="{C183D7F6-B498-43B3-948B-1728B52AA6E4}">
                <adec:decorative xmlns:adec="http://schemas.microsoft.com/office/drawing/2017/decorative" val="1"/>
              </a:ext>
            </a:extLst>
          </p:cNvPr>
          <p:cNvSpPr>
            <a:spLocks noChangeAspect="1"/>
          </p:cNvSpPr>
          <p:nvPr userDrawn="1"/>
        </p:nvSpPr>
        <p:spPr bwMode="gray">
          <a:xfrm flipH="1">
            <a:off x="1710250" y="0"/>
            <a:ext cx="8771501" cy="6858000"/>
          </a:xfrm>
          <a:prstGeom prst="parallelogram">
            <a:avLst>
              <a:gd name="adj" fmla="val 65186"/>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laceholder - Subtitle"/>
          <p:cNvSpPr>
            <a:spLocks noGrp="1"/>
          </p:cNvSpPr>
          <p:nvPr>
            <p:ph type="body" sz="quarter" idx="20" hasCustomPrompt="1"/>
          </p:nvPr>
        </p:nvSpPr>
        <p:spPr bwMode="gray">
          <a:xfrm>
            <a:off x="1564005" y="4542724"/>
            <a:ext cx="9063990" cy="369332"/>
          </a:xfrm>
        </p:spPr>
        <p:txBody>
          <a:bodyPr/>
          <a:lstStyle>
            <a:lvl1pPr marL="0" indent="0" algn="ctr">
              <a:spcBef>
                <a:spcPts val="0"/>
              </a:spcBef>
              <a:buNone/>
              <a:defRPr sz="2400" baseline="0">
                <a:solidFill>
                  <a:schemeClr val="bg1"/>
                </a:solidFill>
              </a:defRPr>
            </a:lvl1pPr>
            <a:lvl2pPr marL="114300" indent="0">
              <a:spcBef>
                <a:spcPts val="0"/>
              </a:spcBef>
              <a:buNone/>
              <a:defRPr sz="1200">
                <a:solidFill>
                  <a:schemeClr val="bg1"/>
                </a:solidFill>
              </a:defRPr>
            </a:lvl2pPr>
            <a:lvl3pPr marL="228600" indent="0">
              <a:spcBef>
                <a:spcPts val="0"/>
              </a:spcBef>
              <a:buNone/>
              <a:defRPr sz="1200">
                <a:solidFill>
                  <a:schemeClr val="bg1"/>
                </a:solidFill>
              </a:defRPr>
            </a:lvl3pPr>
            <a:lvl4pPr marL="342900" indent="0">
              <a:spcBef>
                <a:spcPts val="0"/>
              </a:spcBef>
              <a:buNone/>
              <a:defRPr sz="1200">
                <a:solidFill>
                  <a:schemeClr val="bg1"/>
                </a:solidFill>
              </a:defRPr>
            </a:lvl4pPr>
            <a:lvl5pPr marL="457200" indent="0">
              <a:spcBef>
                <a:spcPts val="0"/>
              </a:spcBef>
              <a:buNone/>
              <a:defRPr sz="1200">
                <a:solidFill>
                  <a:schemeClr val="bg1"/>
                </a:solidFill>
              </a:defRPr>
            </a:lvl5pPr>
          </a:lstStyle>
          <a:p>
            <a:pPr lvl="0"/>
            <a:r>
              <a:rPr lang="en-US"/>
              <a:t>Presentation subtitle, Arial 24pt, sentence case</a:t>
            </a:r>
          </a:p>
        </p:txBody>
      </p:sp>
      <p:sp>
        <p:nvSpPr>
          <p:cNvPr id="2" name="Placeholder - Title"/>
          <p:cNvSpPr>
            <a:spLocks noGrp="1"/>
          </p:cNvSpPr>
          <p:nvPr>
            <p:ph type="title" hasCustomPrompt="1"/>
          </p:nvPr>
        </p:nvSpPr>
        <p:spPr bwMode="gray">
          <a:xfrm>
            <a:off x="1564005" y="2235644"/>
            <a:ext cx="9063990" cy="1661993"/>
          </a:xfrm>
        </p:spPr>
        <p:txBody>
          <a:bodyPr anchor="b"/>
          <a:lstStyle>
            <a:lvl1pPr algn="ctr">
              <a:defRPr sz="6000" baseline="0">
                <a:solidFill>
                  <a:schemeClr val="bg1"/>
                </a:solidFill>
                <a:latin typeface="+mj-lt"/>
                <a:cs typeface="Times New Roman" panose="02020603050405020304" pitchFamily="18" charset="0"/>
              </a:defRPr>
            </a:lvl1pPr>
          </a:lstStyle>
          <a:p>
            <a:r>
              <a:rPr lang="en-US"/>
              <a:t>Presentation Title – </a:t>
            </a:r>
            <a:br>
              <a:rPr lang="en-US"/>
            </a:br>
            <a:r>
              <a:rPr lang="en-US"/>
              <a:t>TNR 60pt, Title Case</a:t>
            </a:r>
          </a:p>
        </p:txBody>
      </p:sp>
      <p:cxnSp>
        <p:nvCxnSpPr>
          <p:cNvPr id="4" name="Straight Connector 3">
            <a:extLst>
              <a:ext uri="{C183D7F6-B498-43B3-948B-1728B52AA6E4}">
                <adec:decorative xmlns:adec="http://schemas.microsoft.com/office/drawing/2017/decorative" val="1"/>
              </a:ext>
            </a:extLst>
          </p:cNvPr>
          <p:cNvCxnSpPr/>
          <p:nvPr userDrawn="1"/>
        </p:nvCxnSpPr>
        <p:spPr bwMode="invGray">
          <a:xfrm>
            <a:off x="5701665" y="4206240"/>
            <a:ext cx="788670" cy="0"/>
          </a:xfrm>
          <a:prstGeom prst="line">
            <a:avLst/>
          </a:prstGeom>
          <a:ln w="28575">
            <a:solidFill>
              <a:schemeClr val="accent6"/>
            </a:solidFill>
            <a:headEnd type="none" w="med" len="med"/>
            <a:tailEnd w="med" len="med"/>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30B9D43B-6D95-49EF-A7DF-A645093531A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609600" y="600471"/>
            <a:ext cx="1901952" cy="526599"/>
          </a:xfrm>
          <a:prstGeom prst="rect">
            <a:avLst/>
          </a:prstGeom>
        </p:spPr>
      </p:pic>
    </p:spTree>
    <p:extLst>
      <p:ext uri="{BB962C8B-B14F-4D97-AF65-F5344CB8AC3E}">
        <p14:creationId xmlns:p14="http://schemas.microsoft.com/office/powerpoint/2010/main" val="1902964939"/>
      </p:ext>
    </p:extLst>
  </p:cSld>
  <p:clrMapOvr>
    <a:masterClrMapping/>
  </p:clrMapOvr>
  <p:extLst>
    <p:ext uri="{DCECCB84-F9BA-43D5-87BE-67443E8EF086}">
      <p15:sldGuideLst xmlns:p15="http://schemas.microsoft.com/office/powerpoint/2012/main">
        <p15:guide id="1" pos="979">
          <p15:clr>
            <a:srgbClr val="FBAE40"/>
          </p15:clr>
        </p15:guide>
        <p15:guide id="2" orient="horz" pos="2852">
          <p15:clr>
            <a:srgbClr val="FBAE40"/>
          </p15:clr>
        </p15:guide>
        <p15:guide id="4" orient="horz" pos="2466">
          <p15:clr>
            <a:srgbClr val="FBAE40"/>
          </p15:clr>
        </p15:guide>
        <p15:guide id="5" pos="670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 Overview">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16A7491D-68BB-42F8-971E-2AE2544D2410}"/>
              </a:ext>
            </a:extLst>
          </p:cNvPr>
          <p:cNvSpPr/>
          <p:nvPr userDrawn="1"/>
        </p:nvSpPr>
        <p:spPr bwMode="gray">
          <a:xfrm>
            <a:off x="7849056" y="0"/>
            <a:ext cx="4342944" cy="6833616"/>
          </a:xfrm>
          <a:custGeom>
            <a:avLst/>
            <a:gdLst>
              <a:gd name="connsiteX0" fmla="*/ 0 w 4342944"/>
              <a:gd name="connsiteY0" fmla="*/ 0 h 6833616"/>
              <a:gd name="connsiteX1" fmla="*/ 4342944 w 4342944"/>
              <a:gd name="connsiteY1" fmla="*/ 0 h 6833616"/>
              <a:gd name="connsiteX2" fmla="*/ 4342944 w 4342944"/>
              <a:gd name="connsiteY2" fmla="*/ 6833616 h 6833616"/>
              <a:gd name="connsiteX3" fmla="*/ 4310030 w 4342944"/>
              <a:gd name="connsiteY3" fmla="*/ 6833616 h 6833616"/>
            </a:gdLst>
            <a:ahLst/>
            <a:cxnLst>
              <a:cxn ang="0">
                <a:pos x="connsiteX0" y="connsiteY0"/>
              </a:cxn>
              <a:cxn ang="0">
                <a:pos x="connsiteX1" y="connsiteY1"/>
              </a:cxn>
              <a:cxn ang="0">
                <a:pos x="connsiteX2" y="connsiteY2"/>
              </a:cxn>
              <a:cxn ang="0">
                <a:pos x="connsiteX3" y="connsiteY3"/>
              </a:cxn>
            </a:cxnLst>
            <a:rect l="l" t="t" r="r" b="b"/>
            <a:pathLst>
              <a:path w="4342944" h="6833616">
                <a:moveTo>
                  <a:pt x="0" y="0"/>
                </a:moveTo>
                <a:lnTo>
                  <a:pt x="4342944" y="0"/>
                </a:lnTo>
                <a:lnTo>
                  <a:pt x="4342944" y="6833616"/>
                </a:lnTo>
                <a:lnTo>
                  <a:pt x="4310030" y="6833616"/>
                </a:lnTo>
                <a:close/>
              </a:path>
            </a:pathLst>
          </a:cu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Shape 5">
            <a:extLst>
              <a:ext uri="{FF2B5EF4-FFF2-40B4-BE49-F238E27FC236}">
                <a16:creationId xmlns:a16="http://schemas.microsoft.com/office/drawing/2014/main" id="{F1ACDC81-47B5-4AC7-83FD-E2CA3CBCC7CB}"/>
              </a:ext>
            </a:extLst>
          </p:cNvPr>
          <p:cNvSpPr>
            <a:spLocks noChangeAspect="1"/>
          </p:cNvSpPr>
          <p:nvPr userDrawn="1"/>
        </p:nvSpPr>
        <p:spPr bwMode="gray">
          <a:xfrm flipH="1">
            <a:off x="4392390" y="1"/>
            <a:ext cx="7799610" cy="6861110"/>
          </a:xfrm>
          <a:custGeom>
            <a:avLst/>
            <a:gdLst>
              <a:gd name="connsiteX0" fmla="*/ 7796074 w 7796074"/>
              <a:gd name="connsiteY0" fmla="*/ 0 h 6857999"/>
              <a:gd name="connsiteX1" fmla="*/ 2906034 w 7796074"/>
              <a:gd name="connsiteY1" fmla="*/ 0 h 6857999"/>
              <a:gd name="connsiteX2" fmla="*/ 0 w 7796074"/>
              <a:gd name="connsiteY2" fmla="*/ 4607560 h 6857999"/>
              <a:gd name="connsiteX3" fmla="*/ 0 w 7796074"/>
              <a:gd name="connsiteY3" fmla="*/ 6857999 h 6857999"/>
              <a:gd name="connsiteX4" fmla="*/ 3470666 w 7796074"/>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6074" h="6857999">
                <a:moveTo>
                  <a:pt x="7796074" y="0"/>
                </a:moveTo>
                <a:lnTo>
                  <a:pt x="2906034" y="0"/>
                </a:lnTo>
                <a:lnTo>
                  <a:pt x="0" y="4607560"/>
                </a:lnTo>
                <a:lnTo>
                  <a:pt x="0" y="6857999"/>
                </a:lnTo>
                <a:lnTo>
                  <a:pt x="3470666" y="6857999"/>
                </a:lnTo>
                <a:close/>
              </a:path>
            </a:pathLst>
          </a:cu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Rectangle 6">
            <a:extLst>
              <a:ext uri="{FF2B5EF4-FFF2-40B4-BE49-F238E27FC236}">
                <a16:creationId xmlns:a16="http://schemas.microsoft.com/office/drawing/2014/main" id="{FAA46F38-F941-42C7-B6E6-5C70741104FB}"/>
              </a:ext>
            </a:extLst>
          </p:cNvPr>
          <p:cNvSpPr/>
          <p:nvPr userDrawn="1"/>
        </p:nvSpPr>
        <p:spPr bwMode="gray">
          <a:xfrm>
            <a:off x="3696127" y="3591659"/>
            <a:ext cx="1525713" cy="1813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15D3ED6-5D0E-47C0-AF60-590083391AE0}"/>
              </a:ext>
            </a:extLst>
          </p:cNvPr>
          <p:cNvSpPr/>
          <p:nvPr userDrawn="1"/>
        </p:nvSpPr>
        <p:spPr bwMode="gray">
          <a:xfrm>
            <a:off x="570216" y="3591659"/>
            <a:ext cx="1980344" cy="1813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96BE398C-C646-4B17-A20C-8557BD11F4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612774" y="646459"/>
            <a:ext cx="1856413" cy="513045"/>
          </a:xfrm>
          <a:prstGeom prst="rect">
            <a:avLst/>
          </a:prstGeom>
        </p:spPr>
      </p:pic>
      <p:sp>
        <p:nvSpPr>
          <p:cNvPr id="11" name="Copyright">
            <a:hlinkClick r:id="rId4"/>
            <a:extLst>
              <a:ext uri="{FF2B5EF4-FFF2-40B4-BE49-F238E27FC236}">
                <a16:creationId xmlns:a16="http://schemas.microsoft.com/office/drawing/2014/main" id="{4E4AC49E-47DC-4814-B5CB-9F0DCD2F79CD}"/>
              </a:ext>
            </a:extLst>
          </p:cNvPr>
          <p:cNvSpPr txBox="1"/>
          <p:nvPr userDrawn="1"/>
        </p:nvSpPr>
        <p:spPr bwMode="gray">
          <a:xfrm>
            <a:off x="612775" y="6502287"/>
            <a:ext cx="3010021" cy="1213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accent4"/>
                </a:solidFill>
                <a:latin typeface="+mj-lt"/>
                <a:cs typeface="Times New Roman" panose="02020603050405020304" pitchFamily="18" charset="0"/>
              </a:rPr>
              <a:t>© 2021 Advisory Board • All rights reserved • </a:t>
            </a:r>
            <a:r>
              <a:rPr lang="en-US" sz="700" b="1">
                <a:solidFill>
                  <a:schemeClr val="accent4"/>
                </a:solidFill>
                <a:latin typeface="+mj-lt"/>
                <a:cs typeface="Times New Roman" panose="02020603050405020304" pitchFamily="18" charset="0"/>
              </a:rPr>
              <a:t>advisory.com</a:t>
            </a:r>
          </a:p>
        </p:txBody>
      </p:sp>
      <p:sp>
        <p:nvSpPr>
          <p:cNvPr id="12" name="Title 4">
            <a:extLst>
              <a:ext uri="{FF2B5EF4-FFF2-40B4-BE49-F238E27FC236}">
                <a16:creationId xmlns:a16="http://schemas.microsoft.com/office/drawing/2014/main" id="{B94DD025-8861-479C-9A06-B18EB6BE7202}"/>
              </a:ext>
            </a:extLst>
          </p:cNvPr>
          <p:cNvSpPr txBox="1">
            <a:spLocks/>
          </p:cNvSpPr>
          <p:nvPr userDrawn="1"/>
        </p:nvSpPr>
        <p:spPr bwMode="gray">
          <a:xfrm>
            <a:off x="612776" y="4529438"/>
            <a:ext cx="1206950" cy="128112"/>
          </a:xfrm>
          <a:prstGeom prst="rect">
            <a:avLst/>
          </a:prstGeom>
        </p:spPr>
        <p:txBody>
          <a:bodyPr vert="horz" wrap="square" lIns="0" tIns="0" rIns="0" bIns="0" rtlCol="0" anchor="t" anchorCtr="0">
            <a:spAutoFit/>
          </a:bodyPr>
          <a:lstStyle>
            <a:lvl1pPr algn="l" defTabSz="914400" rtl="0" eaLnBrk="1" fontAlgn="ctr" latinLnBrk="0" hangingPunct="1">
              <a:lnSpc>
                <a:spcPct val="90000"/>
              </a:lnSpc>
              <a:spcBef>
                <a:spcPct val="0"/>
              </a:spcBef>
              <a:buNone/>
              <a:defRPr sz="3200" kern="1200">
                <a:solidFill>
                  <a:schemeClr val="tx1"/>
                </a:solidFill>
                <a:latin typeface="+mj-lt"/>
                <a:ea typeface="+mj-ea"/>
                <a:cs typeface="+mj-cs"/>
              </a:defRPr>
            </a:lvl1pPr>
          </a:lstStyle>
          <a:p>
            <a:r>
              <a:rPr lang="en-US" sz="900" cap="all" spc="50">
                <a:solidFill>
                  <a:schemeClr val="accent2"/>
                </a:solidFill>
                <a:latin typeface="+mn-lt"/>
              </a:rPr>
              <a:t>WHO WE SERVE</a:t>
            </a:r>
          </a:p>
        </p:txBody>
      </p:sp>
      <p:sp>
        <p:nvSpPr>
          <p:cNvPr id="13" name="Text Placeholder">
            <a:extLst>
              <a:ext uri="{FF2B5EF4-FFF2-40B4-BE49-F238E27FC236}">
                <a16:creationId xmlns:a16="http://schemas.microsoft.com/office/drawing/2014/main" id="{368AE02B-9D0A-4F0B-A8E5-74F6C54270D8}"/>
              </a:ext>
            </a:extLst>
          </p:cNvPr>
          <p:cNvSpPr txBox="1">
            <a:spLocks/>
          </p:cNvSpPr>
          <p:nvPr userDrawn="1"/>
        </p:nvSpPr>
        <p:spPr bwMode="gray">
          <a:xfrm>
            <a:off x="612776" y="4740864"/>
            <a:ext cx="4927412" cy="1299074"/>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lnSpc>
                <a:spcPct val="120000"/>
              </a:lnSpc>
              <a:buNone/>
            </a:pPr>
            <a:r>
              <a:rPr lang="en-US" sz="1800"/>
              <a:t>Hospitals </a:t>
            </a:r>
            <a:r>
              <a:rPr lang="en-US" sz="1800">
                <a:ln>
                  <a:solidFill>
                    <a:schemeClr val="accent2"/>
                  </a:solidFill>
                </a:ln>
                <a:noFill/>
                <a:cs typeface="Arial" panose="020B0604020202020204" pitchFamily="34" charset="0"/>
              </a:rPr>
              <a:t>•</a:t>
            </a:r>
            <a:r>
              <a:rPr lang="en-US" sz="1800"/>
              <a:t> Health systems </a:t>
            </a:r>
            <a:r>
              <a:rPr lang="en-US" sz="1800">
                <a:ln>
                  <a:solidFill>
                    <a:schemeClr val="accent2"/>
                  </a:solidFill>
                </a:ln>
                <a:noFill/>
                <a:cs typeface="Arial" panose="020B0604020202020204" pitchFamily="34" charset="0"/>
              </a:rPr>
              <a:t>•</a:t>
            </a:r>
            <a:r>
              <a:rPr lang="en-US" sz="1800"/>
              <a:t> Medical groups </a:t>
            </a:r>
            <a:r>
              <a:rPr lang="en-US" sz="1800">
                <a:ln>
                  <a:solidFill>
                    <a:schemeClr val="accent2"/>
                  </a:solidFill>
                </a:ln>
                <a:noFill/>
                <a:cs typeface="Arial" panose="020B0604020202020204" pitchFamily="34" charset="0"/>
              </a:rPr>
              <a:t>•</a:t>
            </a:r>
            <a:r>
              <a:rPr lang="en-US" sz="1800"/>
              <a:t> Post-acute care providers </a:t>
            </a:r>
            <a:r>
              <a:rPr lang="en-US" sz="1800">
                <a:ln>
                  <a:solidFill>
                    <a:schemeClr val="accent2"/>
                  </a:solidFill>
                </a:ln>
                <a:noFill/>
                <a:cs typeface="Arial" panose="020B0604020202020204" pitchFamily="34" charset="0"/>
              </a:rPr>
              <a:t>•</a:t>
            </a:r>
            <a:r>
              <a:rPr lang="en-US" sz="1800"/>
              <a:t> Life sciences firms </a:t>
            </a:r>
            <a:r>
              <a:rPr lang="en-US" sz="1800">
                <a:ln>
                  <a:solidFill>
                    <a:schemeClr val="accent2"/>
                  </a:solidFill>
                </a:ln>
                <a:noFill/>
                <a:cs typeface="Arial" panose="020B0604020202020204" pitchFamily="34" charset="0"/>
              </a:rPr>
              <a:t>•</a:t>
            </a:r>
            <a:r>
              <a:rPr lang="en-US" sz="1800"/>
              <a:t> Digital health companies </a:t>
            </a:r>
            <a:r>
              <a:rPr lang="en-US" sz="1800">
                <a:ln>
                  <a:solidFill>
                    <a:schemeClr val="accent2"/>
                  </a:solidFill>
                </a:ln>
                <a:noFill/>
                <a:cs typeface="Arial" panose="020B0604020202020204" pitchFamily="34" charset="0"/>
              </a:rPr>
              <a:t>•</a:t>
            </a:r>
            <a:r>
              <a:rPr lang="en-US" sz="1800"/>
              <a:t> Health plans </a:t>
            </a:r>
            <a:r>
              <a:rPr lang="en-US" sz="1800">
                <a:ln>
                  <a:solidFill>
                    <a:schemeClr val="accent2"/>
                  </a:solidFill>
                </a:ln>
                <a:noFill/>
                <a:cs typeface="Arial" panose="020B0604020202020204" pitchFamily="34" charset="0"/>
              </a:rPr>
              <a:t>•</a:t>
            </a:r>
            <a:r>
              <a:rPr lang="en-US" sz="1800"/>
              <a:t> </a:t>
            </a:r>
            <a:br>
              <a:rPr lang="en-US" sz="1800"/>
            </a:br>
            <a:r>
              <a:rPr lang="en-US" sz="1800"/>
              <a:t>Health care professional services firms</a:t>
            </a:r>
          </a:p>
        </p:txBody>
      </p:sp>
      <p:pic>
        <p:nvPicPr>
          <p:cNvPr id="14" name="Graphic 13">
            <a:extLst>
              <a:ext uri="{FF2B5EF4-FFF2-40B4-BE49-F238E27FC236}">
                <a16:creationId xmlns:a16="http://schemas.microsoft.com/office/drawing/2014/main" id="{0D358D57-0BBA-4C50-9EA7-C3B9B09809D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bwMode="gray">
          <a:xfrm>
            <a:off x="4394249" y="3259455"/>
            <a:ext cx="6684329" cy="73152"/>
          </a:xfrm>
          <a:prstGeom prst="rect">
            <a:avLst/>
          </a:prstGeom>
        </p:spPr>
      </p:pic>
      <p:sp>
        <p:nvSpPr>
          <p:cNvPr id="15" name="Parallelogram 14">
            <a:extLst>
              <a:ext uri="{FF2B5EF4-FFF2-40B4-BE49-F238E27FC236}">
                <a16:creationId xmlns:a16="http://schemas.microsoft.com/office/drawing/2014/main" id="{F7DD9C51-F0CC-4809-A758-BB0703A03D71}"/>
              </a:ext>
            </a:extLst>
          </p:cNvPr>
          <p:cNvSpPr/>
          <p:nvPr userDrawn="1"/>
        </p:nvSpPr>
        <p:spPr bwMode="gray">
          <a:xfrm flipH="1">
            <a:off x="6427604" y="3190781"/>
            <a:ext cx="464974" cy="200439"/>
          </a:xfrm>
          <a:prstGeom prst="parallelogram">
            <a:avLst>
              <a:gd name="adj" fmla="val 63336"/>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15">
            <a:extLst>
              <a:ext uri="{FF2B5EF4-FFF2-40B4-BE49-F238E27FC236}">
                <a16:creationId xmlns:a16="http://schemas.microsoft.com/office/drawing/2014/main" id="{61EDE0C3-5640-4F43-9031-C73A2050994D}"/>
              </a:ext>
            </a:extLst>
          </p:cNvPr>
          <p:cNvSpPr/>
          <p:nvPr userDrawn="1"/>
        </p:nvSpPr>
        <p:spPr bwMode="gray">
          <a:xfrm flipH="1">
            <a:off x="3981062" y="3190781"/>
            <a:ext cx="2543250" cy="200439"/>
          </a:xfrm>
          <a:prstGeom prst="parallelogram">
            <a:avLst>
              <a:gd name="adj" fmla="val 63336"/>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a:extLst>
              <a:ext uri="{FF2B5EF4-FFF2-40B4-BE49-F238E27FC236}">
                <a16:creationId xmlns:a16="http://schemas.microsoft.com/office/drawing/2014/main" id="{24ED7B4F-6A2B-4BCF-B390-0D1C41F73DCA}"/>
              </a:ext>
            </a:extLst>
          </p:cNvPr>
          <p:cNvSpPr txBox="1">
            <a:spLocks/>
          </p:cNvSpPr>
          <p:nvPr userDrawn="1"/>
        </p:nvSpPr>
        <p:spPr bwMode="gray">
          <a:xfrm>
            <a:off x="612776" y="1551790"/>
            <a:ext cx="4648974" cy="2308324"/>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spcBef>
                <a:spcPts val="0"/>
              </a:spcBef>
              <a:buNone/>
            </a:pPr>
            <a:r>
              <a:rPr lang="en-US" sz="5000">
                <a:solidFill>
                  <a:schemeClr val="accent5"/>
                </a:solidFill>
                <a:latin typeface="+mj-lt"/>
              </a:rPr>
              <a:t>Helping health care leaders work smarter and faster</a:t>
            </a:r>
          </a:p>
        </p:txBody>
      </p:sp>
      <p:sp>
        <p:nvSpPr>
          <p:cNvPr id="18" name="Rectangle 17">
            <a:extLst>
              <a:ext uri="{FF2B5EF4-FFF2-40B4-BE49-F238E27FC236}">
                <a16:creationId xmlns:a16="http://schemas.microsoft.com/office/drawing/2014/main" id="{53CA6AB9-900A-4B01-BE89-026983A16C9E}"/>
              </a:ext>
            </a:extLst>
          </p:cNvPr>
          <p:cNvSpPr/>
          <p:nvPr userDrawn="1"/>
        </p:nvSpPr>
        <p:spPr bwMode="gray">
          <a:xfrm>
            <a:off x="8365150" y="1262346"/>
            <a:ext cx="500944" cy="136459"/>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a:extLst>
              <a:ext uri="{FF2B5EF4-FFF2-40B4-BE49-F238E27FC236}">
                <a16:creationId xmlns:a16="http://schemas.microsoft.com/office/drawing/2014/main" id="{CD571C6A-A490-4F38-810F-50F954F5A97B}"/>
              </a:ext>
            </a:extLst>
          </p:cNvPr>
          <p:cNvSpPr txBox="1">
            <a:spLocks/>
          </p:cNvSpPr>
          <p:nvPr userDrawn="1"/>
        </p:nvSpPr>
        <p:spPr bwMode="gray">
          <a:xfrm>
            <a:off x="7641791" y="436224"/>
            <a:ext cx="1782833" cy="461665"/>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spcBef>
                <a:spcPts val="0"/>
              </a:spcBef>
              <a:buNone/>
            </a:pPr>
            <a:r>
              <a:rPr lang="en-US" sz="3000">
                <a:solidFill>
                  <a:schemeClr val="bg1"/>
                </a:solidFill>
                <a:latin typeface="+mj-lt"/>
              </a:rPr>
              <a:t>40</a:t>
            </a:r>
            <a:r>
              <a:rPr lang="en-US" sz="3000" baseline="30000">
                <a:solidFill>
                  <a:schemeClr val="bg1"/>
                </a:solidFill>
                <a:latin typeface="+mj-lt"/>
              </a:rPr>
              <a:t>+</a:t>
            </a:r>
            <a:r>
              <a:rPr lang="en-US" sz="3000">
                <a:solidFill>
                  <a:schemeClr val="bg1"/>
                </a:solidFill>
                <a:latin typeface="+mj-lt"/>
              </a:rPr>
              <a:t> </a:t>
            </a:r>
            <a:r>
              <a:rPr lang="en-US" sz="2500">
                <a:solidFill>
                  <a:schemeClr val="bg1"/>
                </a:solidFill>
                <a:latin typeface="+mj-lt"/>
              </a:rPr>
              <a:t>years</a:t>
            </a:r>
          </a:p>
        </p:txBody>
      </p:sp>
      <p:sp>
        <p:nvSpPr>
          <p:cNvPr id="20" name="Title 4">
            <a:extLst>
              <a:ext uri="{FF2B5EF4-FFF2-40B4-BE49-F238E27FC236}">
                <a16:creationId xmlns:a16="http://schemas.microsoft.com/office/drawing/2014/main" id="{735D7E4F-4FC5-43D6-A9D4-1B0171BA405C}"/>
              </a:ext>
            </a:extLst>
          </p:cNvPr>
          <p:cNvSpPr txBox="1">
            <a:spLocks/>
          </p:cNvSpPr>
          <p:nvPr userDrawn="1"/>
        </p:nvSpPr>
        <p:spPr bwMode="gray">
          <a:xfrm>
            <a:off x="7641791" y="934896"/>
            <a:ext cx="2041367" cy="138499"/>
          </a:xfrm>
          <a:prstGeom prst="rect">
            <a:avLst/>
          </a:prstGeom>
        </p:spPr>
        <p:txBody>
          <a:bodyPr vert="horz" wrap="square" lIns="0" tIns="0" rIns="0" bIns="0" rtlCol="0" anchor="t" anchorCtr="0">
            <a:spAutoFit/>
          </a:bodyPr>
          <a:lstStyle>
            <a:lvl1pPr algn="l" defTabSz="914400" rtl="0" eaLnBrk="1" fontAlgn="ctr" latinLnBrk="0" hangingPunct="1">
              <a:lnSpc>
                <a:spcPct val="90000"/>
              </a:lnSpc>
              <a:spcBef>
                <a:spcPct val="0"/>
              </a:spcBef>
              <a:buNone/>
              <a:defRPr sz="3200" kern="1200">
                <a:solidFill>
                  <a:schemeClr val="tx1"/>
                </a:solidFill>
                <a:latin typeface="+mj-lt"/>
                <a:ea typeface="+mj-ea"/>
                <a:cs typeface="+mj-cs"/>
              </a:defRPr>
            </a:lvl1pPr>
          </a:lstStyle>
          <a:p>
            <a:pPr>
              <a:lnSpc>
                <a:spcPct val="100000"/>
              </a:lnSpc>
            </a:pPr>
            <a:r>
              <a:rPr lang="en-US" sz="900" cap="all" spc="50">
                <a:solidFill>
                  <a:schemeClr val="accent2"/>
                </a:solidFill>
                <a:latin typeface="+mn-lt"/>
              </a:rPr>
              <a:t>Of research experience</a:t>
            </a:r>
          </a:p>
        </p:txBody>
      </p:sp>
      <p:sp>
        <p:nvSpPr>
          <p:cNvPr id="21" name="Text Placeholder">
            <a:extLst>
              <a:ext uri="{FF2B5EF4-FFF2-40B4-BE49-F238E27FC236}">
                <a16:creationId xmlns:a16="http://schemas.microsoft.com/office/drawing/2014/main" id="{A25C69D0-08DB-4C34-9175-5C67112E07ED}"/>
              </a:ext>
            </a:extLst>
          </p:cNvPr>
          <p:cNvSpPr txBox="1">
            <a:spLocks/>
          </p:cNvSpPr>
          <p:nvPr userDrawn="1"/>
        </p:nvSpPr>
        <p:spPr bwMode="gray">
          <a:xfrm>
            <a:off x="9800209" y="436224"/>
            <a:ext cx="1526921" cy="461665"/>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spcBef>
                <a:spcPts val="0"/>
              </a:spcBef>
              <a:buNone/>
            </a:pPr>
            <a:r>
              <a:rPr lang="en-US" sz="3000">
                <a:solidFill>
                  <a:schemeClr val="bg1"/>
                </a:solidFill>
                <a:latin typeface="+mj-lt"/>
              </a:rPr>
              <a:t>4,500</a:t>
            </a:r>
            <a:r>
              <a:rPr lang="en-US" sz="3000" baseline="30000">
                <a:solidFill>
                  <a:schemeClr val="bg1"/>
                </a:solidFill>
                <a:latin typeface="+mj-lt"/>
              </a:rPr>
              <a:t>+</a:t>
            </a:r>
          </a:p>
        </p:txBody>
      </p:sp>
      <p:sp>
        <p:nvSpPr>
          <p:cNvPr id="22" name="Title 4">
            <a:extLst>
              <a:ext uri="{FF2B5EF4-FFF2-40B4-BE49-F238E27FC236}">
                <a16:creationId xmlns:a16="http://schemas.microsoft.com/office/drawing/2014/main" id="{E5F647F0-B3B7-4EF4-95D7-F3C35E75789A}"/>
              </a:ext>
            </a:extLst>
          </p:cNvPr>
          <p:cNvSpPr txBox="1">
            <a:spLocks/>
          </p:cNvSpPr>
          <p:nvPr userDrawn="1"/>
        </p:nvSpPr>
        <p:spPr bwMode="gray">
          <a:xfrm>
            <a:off x="9800209" y="934896"/>
            <a:ext cx="1985356" cy="138499"/>
          </a:xfrm>
          <a:prstGeom prst="rect">
            <a:avLst/>
          </a:prstGeom>
        </p:spPr>
        <p:txBody>
          <a:bodyPr vert="horz" wrap="square" lIns="0" tIns="0" rIns="0" bIns="0" rtlCol="0" anchor="t" anchorCtr="0">
            <a:spAutoFit/>
          </a:bodyPr>
          <a:lstStyle>
            <a:lvl1pPr algn="l" defTabSz="914400" rtl="0" eaLnBrk="1" fontAlgn="ctr" latinLnBrk="0" hangingPunct="1">
              <a:lnSpc>
                <a:spcPct val="90000"/>
              </a:lnSpc>
              <a:spcBef>
                <a:spcPct val="0"/>
              </a:spcBef>
              <a:buNone/>
              <a:defRPr sz="3200" kern="1200">
                <a:solidFill>
                  <a:schemeClr val="tx1"/>
                </a:solidFill>
                <a:latin typeface="+mj-lt"/>
                <a:ea typeface="+mj-ea"/>
                <a:cs typeface="+mj-cs"/>
              </a:defRPr>
            </a:lvl1pPr>
          </a:lstStyle>
          <a:p>
            <a:pPr>
              <a:lnSpc>
                <a:spcPct val="100000"/>
              </a:lnSpc>
            </a:pPr>
            <a:r>
              <a:rPr lang="en-US" sz="900" cap="all" spc="50">
                <a:solidFill>
                  <a:schemeClr val="accent2"/>
                </a:solidFill>
                <a:latin typeface="+mn-lt"/>
              </a:rPr>
              <a:t>MEMBERS IN OUR NETWORK</a:t>
            </a:r>
          </a:p>
        </p:txBody>
      </p:sp>
      <p:sp>
        <p:nvSpPr>
          <p:cNvPr id="23" name="Text Placeholder">
            <a:extLst>
              <a:ext uri="{FF2B5EF4-FFF2-40B4-BE49-F238E27FC236}">
                <a16:creationId xmlns:a16="http://schemas.microsoft.com/office/drawing/2014/main" id="{811F98DE-8CEB-4C2F-9266-685F0AA2C97F}"/>
              </a:ext>
            </a:extLst>
          </p:cNvPr>
          <p:cNvSpPr txBox="1">
            <a:spLocks/>
          </p:cNvSpPr>
          <p:nvPr userDrawn="1"/>
        </p:nvSpPr>
        <p:spPr bwMode="gray">
          <a:xfrm>
            <a:off x="5643927" y="436224"/>
            <a:ext cx="1526921" cy="461665"/>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spcBef>
                <a:spcPts val="0"/>
              </a:spcBef>
              <a:buNone/>
            </a:pPr>
            <a:r>
              <a:rPr lang="en-US" sz="3000">
                <a:solidFill>
                  <a:schemeClr val="bg1"/>
                </a:solidFill>
                <a:latin typeface="+mj-lt"/>
              </a:rPr>
              <a:t>200</a:t>
            </a:r>
            <a:r>
              <a:rPr lang="en-US" sz="3000" baseline="30000">
                <a:solidFill>
                  <a:schemeClr val="bg1"/>
                </a:solidFill>
                <a:latin typeface="+mj-lt"/>
              </a:rPr>
              <a:t>+</a:t>
            </a:r>
            <a:endParaRPr lang="en-US" sz="3000">
              <a:solidFill>
                <a:schemeClr val="bg1"/>
              </a:solidFill>
              <a:latin typeface="+mj-lt"/>
            </a:endParaRPr>
          </a:p>
        </p:txBody>
      </p:sp>
      <p:sp>
        <p:nvSpPr>
          <p:cNvPr id="24" name="Title 4">
            <a:extLst>
              <a:ext uri="{FF2B5EF4-FFF2-40B4-BE49-F238E27FC236}">
                <a16:creationId xmlns:a16="http://schemas.microsoft.com/office/drawing/2014/main" id="{D1BB8BB8-6E2A-4780-BF93-BC08BD985A95}"/>
              </a:ext>
            </a:extLst>
          </p:cNvPr>
          <p:cNvSpPr txBox="1">
            <a:spLocks/>
          </p:cNvSpPr>
          <p:nvPr userDrawn="1"/>
        </p:nvSpPr>
        <p:spPr bwMode="gray">
          <a:xfrm>
            <a:off x="5643927" y="934896"/>
            <a:ext cx="1785648" cy="138499"/>
          </a:xfrm>
          <a:prstGeom prst="rect">
            <a:avLst/>
          </a:prstGeom>
        </p:spPr>
        <p:txBody>
          <a:bodyPr vert="horz" wrap="square" lIns="0" tIns="0" rIns="0" bIns="0" rtlCol="0" anchor="t" anchorCtr="0">
            <a:spAutoFit/>
          </a:bodyPr>
          <a:lstStyle>
            <a:lvl1pPr algn="l" defTabSz="914400" rtl="0" eaLnBrk="1" fontAlgn="ctr" latinLnBrk="0" hangingPunct="1">
              <a:lnSpc>
                <a:spcPct val="90000"/>
              </a:lnSpc>
              <a:spcBef>
                <a:spcPct val="0"/>
              </a:spcBef>
              <a:buNone/>
              <a:defRPr sz="3200" kern="1200">
                <a:solidFill>
                  <a:schemeClr val="tx1"/>
                </a:solidFill>
                <a:latin typeface="+mj-lt"/>
                <a:ea typeface="+mj-ea"/>
                <a:cs typeface="+mj-cs"/>
              </a:defRPr>
            </a:lvl1pPr>
          </a:lstStyle>
          <a:p>
            <a:pPr>
              <a:lnSpc>
                <a:spcPct val="100000"/>
              </a:lnSpc>
            </a:pPr>
            <a:r>
              <a:rPr lang="en-US" sz="900" cap="all" spc="50">
                <a:solidFill>
                  <a:schemeClr val="accent2"/>
                </a:solidFill>
                <a:latin typeface="+mn-lt"/>
              </a:rPr>
              <a:t>EXPERTS ON OUR TEAM</a:t>
            </a:r>
          </a:p>
        </p:txBody>
      </p:sp>
      <p:sp>
        <p:nvSpPr>
          <p:cNvPr id="25" name="Text Placeholder">
            <a:extLst>
              <a:ext uri="{FF2B5EF4-FFF2-40B4-BE49-F238E27FC236}">
                <a16:creationId xmlns:a16="http://schemas.microsoft.com/office/drawing/2014/main" id="{66A66B65-43D9-47D3-978B-CF71A12F1CEA}"/>
              </a:ext>
            </a:extLst>
          </p:cNvPr>
          <p:cNvSpPr txBox="1">
            <a:spLocks/>
          </p:cNvSpPr>
          <p:nvPr userDrawn="1"/>
        </p:nvSpPr>
        <p:spPr bwMode="gray">
          <a:xfrm>
            <a:off x="7969591" y="4166938"/>
            <a:ext cx="3050123" cy="600164"/>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buNone/>
            </a:pPr>
            <a:r>
              <a:rPr lang="en-US" sz="1300">
                <a:solidFill>
                  <a:schemeClr val="accent1">
                    <a:lumMod val="90000"/>
                  </a:schemeClr>
                </a:solidFill>
              </a:rPr>
              <a:t>The knowledge you need to stay current, plus the strategic guidance, data, and tools you need to take action </a:t>
            </a:r>
          </a:p>
        </p:txBody>
      </p:sp>
      <p:sp>
        <p:nvSpPr>
          <p:cNvPr id="26" name="Text Placeholder">
            <a:extLst>
              <a:ext uri="{FF2B5EF4-FFF2-40B4-BE49-F238E27FC236}">
                <a16:creationId xmlns:a16="http://schemas.microsoft.com/office/drawing/2014/main" id="{687A8AA3-1980-4BEE-925E-A673CDA03405}"/>
              </a:ext>
            </a:extLst>
          </p:cNvPr>
          <p:cNvSpPr txBox="1">
            <a:spLocks/>
          </p:cNvSpPr>
          <p:nvPr userDrawn="1"/>
        </p:nvSpPr>
        <p:spPr bwMode="gray">
          <a:xfrm>
            <a:off x="7969591" y="3758786"/>
            <a:ext cx="1160050" cy="290849"/>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lnSpc>
                <a:spcPct val="90000"/>
              </a:lnSpc>
              <a:spcBef>
                <a:spcPts val="0"/>
              </a:spcBef>
              <a:buNone/>
            </a:pPr>
            <a:r>
              <a:rPr lang="en-US" sz="2100">
                <a:solidFill>
                  <a:schemeClr val="bg1"/>
                </a:solidFill>
                <a:latin typeface="+mj-lt"/>
              </a:rPr>
              <a:t>Research</a:t>
            </a:r>
          </a:p>
        </p:txBody>
      </p:sp>
      <p:cxnSp>
        <p:nvCxnSpPr>
          <p:cNvPr id="27" name="Straight Connector 26">
            <a:extLst>
              <a:ext uri="{FF2B5EF4-FFF2-40B4-BE49-F238E27FC236}">
                <a16:creationId xmlns:a16="http://schemas.microsoft.com/office/drawing/2014/main" id="{73717ECF-2B5F-4A19-8F0A-69C6B347ECB1}"/>
              </a:ext>
            </a:extLst>
          </p:cNvPr>
          <p:cNvCxnSpPr/>
          <p:nvPr userDrawn="1"/>
        </p:nvCxnSpPr>
        <p:spPr bwMode="gray">
          <a:xfrm>
            <a:off x="7969591" y="4116018"/>
            <a:ext cx="257175" cy="0"/>
          </a:xfrm>
          <a:prstGeom prst="line">
            <a:avLst/>
          </a:prstGeom>
          <a:ln w="19050">
            <a:solidFill>
              <a:schemeClr val="accent6"/>
            </a:solidFill>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28" name="Text Placeholder">
            <a:extLst>
              <a:ext uri="{FF2B5EF4-FFF2-40B4-BE49-F238E27FC236}">
                <a16:creationId xmlns:a16="http://schemas.microsoft.com/office/drawing/2014/main" id="{E54ECEE3-B452-44A4-BCD5-66133F9BA732}"/>
              </a:ext>
            </a:extLst>
          </p:cNvPr>
          <p:cNvSpPr txBox="1">
            <a:spLocks/>
          </p:cNvSpPr>
          <p:nvPr userDrawn="1"/>
        </p:nvSpPr>
        <p:spPr bwMode="gray">
          <a:xfrm>
            <a:off x="8852300" y="5560820"/>
            <a:ext cx="2972701" cy="600164"/>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buNone/>
            </a:pPr>
            <a:r>
              <a:rPr lang="en-US" sz="1300">
                <a:solidFill>
                  <a:schemeClr val="accent1">
                    <a:lumMod val="90000"/>
                  </a:schemeClr>
                </a:solidFill>
              </a:rPr>
              <a:t>Virtual and in-person leadership development, custom learning solutions, and online manager support</a:t>
            </a:r>
          </a:p>
        </p:txBody>
      </p:sp>
      <p:sp>
        <p:nvSpPr>
          <p:cNvPr id="29" name="Text Placeholder">
            <a:extLst>
              <a:ext uri="{FF2B5EF4-FFF2-40B4-BE49-F238E27FC236}">
                <a16:creationId xmlns:a16="http://schemas.microsoft.com/office/drawing/2014/main" id="{787D4ECD-F89B-4255-B8DA-06C41276526F}"/>
              </a:ext>
            </a:extLst>
          </p:cNvPr>
          <p:cNvSpPr txBox="1">
            <a:spLocks/>
          </p:cNvSpPr>
          <p:nvPr userDrawn="1"/>
        </p:nvSpPr>
        <p:spPr bwMode="gray">
          <a:xfrm>
            <a:off x="8852300" y="5152668"/>
            <a:ext cx="2532194" cy="290849"/>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lnSpc>
                <a:spcPct val="90000"/>
              </a:lnSpc>
              <a:spcBef>
                <a:spcPts val="0"/>
              </a:spcBef>
              <a:buNone/>
            </a:pPr>
            <a:r>
              <a:rPr lang="en-US" sz="2100">
                <a:solidFill>
                  <a:schemeClr val="bg1"/>
                </a:solidFill>
                <a:latin typeface="+mj-lt"/>
              </a:rPr>
              <a:t>People development</a:t>
            </a:r>
          </a:p>
        </p:txBody>
      </p:sp>
      <p:cxnSp>
        <p:nvCxnSpPr>
          <p:cNvPr id="30" name="Straight Connector 29">
            <a:extLst>
              <a:ext uri="{FF2B5EF4-FFF2-40B4-BE49-F238E27FC236}">
                <a16:creationId xmlns:a16="http://schemas.microsoft.com/office/drawing/2014/main" id="{6328B075-5ADC-4F48-A04A-5638D9F2D919}"/>
              </a:ext>
            </a:extLst>
          </p:cNvPr>
          <p:cNvCxnSpPr/>
          <p:nvPr userDrawn="1"/>
        </p:nvCxnSpPr>
        <p:spPr bwMode="gray">
          <a:xfrm>
            <a:off x="8852300" y="5509900"/>
            <a:ext cx="257175" cy="0"/>
          </a:xfrm>
          <a:prstGeom prst="line">
            <a:avLst/>
          </a:prstGeom>
          <a:ln w="19050">
            <a:solidFill>
              <a:schemeClr val="accent6"/>
            </a:solidFill>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31" name="Chevron 211">
            <a:extLst>
              <a:ext uri="{FF2B5EF4-FFF2-40B4-BE49-F238E27FC236}">
                <a16:creationId xmlns:a16="http://schemas.microsoft.com/office/drawing/2014/main" id="{03879E46-8F53-4932-92E8-BC9380E85B6B}"/>
              </a:ext>
            </a:extLst>
          </p:cNvPr>
          <p:cNvSpPr/>
          <p:nvPr userDrawn="1"/>
        </p:nvSpPr>
        <p:spPr bwMode="ltGray">
          <a:xfrm rot="5400000">
            <a:off x="8558246" y="1210830"/>
            <a:ext cx="114752" cy="209163"/>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2" name="Straight Connector 31">
            <a:extLst>
              <a:ext uri="{FF2B5EF4-FFF2-40B4-BE49-F238E27FC236}">
                <a16:creationId xmlns:a16="http://schemas.microsoft.com/office/drawing/2014/main" id="{9786C07D-EE85-4FC3-9BEB-641E9B75D438}"/>
              </a:ext>
            </a:extLst>
          </p:cNvPr>
          <p:cNvCxnSpPr>
            <a:cxnSpLocks/>
          </p:cNvCxnSpPr>
          <p:nvPr userDrawn="1"/>
        </p:nvCxnSpPr>
        <p:spPr bwMode="gray">
          <a:xfrm>
            <a:off x="5643927" y="1315411"/>
            <a:ext cx="2721223" cy="0"/>
          </a:xfrm>
          <a:prstGeom prst="line">
            <a:avLst/>
          </a:prstGeom>
          <a:ln w="6350">
            <a:solidFill>
              <a:schemeClr val="accent3"/>
            </a:solidFill>
            <a:headEnd type="none" w="med" len="med"/>
            <a:tailEnd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BAD820D-6078-4282-A582-E7DD9FF4501C}"/>
              </a:ext>
            </a:extLst>
          </p:cNvPr>
          <p:cNvCxnSpPr>
            <a:cxnSpLocks/>
          </p:cNvCxnSpPr>
          <p:nvPr userDrawn="1"/>
        </p:nvCxnSpPr>
        <p:spPr bwMode="gray">
          <a:xfrm>
            <a:off x="8866094" y="1315411"/>
            <a:ext cx="2721223" cy="0"/>
          </a:xfrm>
          <a:prstGeom prst="line">
            <a:avLst/>
          </a:prstGeom>
          <a:ln w="6350">
            <a:solidFill>
              <a:schemeClr val="accent3"/>
            </a:solidFill>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34" name="Text Placeholder">
            <a:extLst>
              <a:ext uri="{FF2B5EF4-FFF2-40B4-BE49-F238E27FC236}">
                <a16:creationId xmlns:a16="http://schemas.microsoft.com/office/drawing/2014/main" id="{78F02DFB-F32F-40FA-AC76-9D51123A8A31}"/>
              </a:ext>
            </a:extLst>
          </p:cNvPr>
          <p:cNvSpPr txBox="1">
            <a:spLocks/>
          </p:cNvSpPr>
          <p:nvPr userDrawn="1"/>
        </p:nvSpPr>
        <p:spPr bwMode="gray">
          <a:xfrm>
            <a:off x="6168830" y="1693297"/>
            <a:ext cx="5179179" cy="1082540"/>
          </a:xfrm>
          <a:prstGeom prst="rect">
            <a:avLst/>
          </a:prstGeom>
          <a:noFill/>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lnSpc>
                <a:spcPct val="120000"/>
              </a:lnSpc>
              <a:buNone/>
            </a:pPr>
            <a:r>
              <a:rPr lang="en-US">
                <a:solidFill>
                  <a:schemeClr val="accent1">
                    <a:lumMod val="90000"/>
                  </a:schemeClr>
                </a:solidFill>
              </a:rPr>
              <a:t>Our experts harness a time-tested research process and</a:t>
            </a:r>
            <a:br>
              <a:rPr lang="en-US">
                <a:solidFill>
                  <a:schemeClr val="accent1">
                    <a:lumMod val="90000"/>
                  </a:schemeClr>
                </a:solidFill>
              </a:rPr>
            </a:br>
            <a:r>
              <a:rPr lang="en-US">
                <a:solidFill>
                  <a:schemeClr val="accent1">
                    <a:lumMod val="90000"/>
                  </a:schemeClr>
                </a:solidFill>
              </a:rPr>
              <a:t>   the collective wisdom of our vast member network to</a:t>
            </a:r>
            <a:br>
              <a:rPr lang="en-US">
                <a:solidFill>
                  <a:schemeClr val="accent1">
                    <a:lumMod val="90000"/>
                  </a:schemeClr>
                </a:solidFill>
              </a:rPr>
            </a:br>
            <a:r>
              <a:rPr lang="en-US">
                <a:solidFill>
                  <a:schemeClr val="accent1">
                    <a:lumMod val="90000"/>
                  </a:schemeClr>
                </a:solidFill>
              </a:rPr>
              <a:t>      develop </a:t>
            </a:r>
            <a:r>
              <a:rPr lang="en-US" b="1">
                <a:solidFill>
                  <a:schemeClr val="bg1"/>
                </a:solidFill>
              </a:rPr>
              <a:t>provocative insights</a:t>
            </a:r>
            <a:r>
              <a:rPr lang="en-US">
                <a:solidFill>
                  <a:schemeClr val="bg1"/>
                </a:solidFill>
              </a:rPr>
              <a:t>, </a:t>
            </a:r>
            <a:r>
              <a:rPr lang="en-US" b="1">
                <a:solidFill>
                  <a:schemeClr val="bg1"/>
                </a:solidFill>
              </a:rPr>
              <a:t>actionable strategies</a:t>
            </a:r>
            <a:r>
              <a:rPr lang="en-US">
                <a:solidFill>
                  <a:schemeClr val="bg1"/>
                </a:solidFill>
              </a:rPr>
              <a:t>,</a:t>
            </a:r>
            <a:br>
              <a:rPr lang="en-US">
                <a:solidFill>
                  <a:schemeClr val="bg1"/>
                </a:solidFill>
              </a:rPr>
            </a:br>
            <a:r>
              <a:rPr lang="en-US">
                <a:solidFill>
                  <a:schemeClr val="bg2"/>
                </a:solidFill>
              </a:rPr>
              <a:t>         </a:t>
            </a:r>
            <a:r>
              <a:rPr lang="en-US">
                <a:solidFill>
                  <a:schemeClr val="accent1">
                    <a:lumMod val="90000"/>
                  </a:schemeClr>
                </a:solidFill>
              </a:rPr>
              <a:t>and </a:t>
            </a:r>
            <a:r>
              <a:rPr lang="en-US" b="1">
                <a:solidFill>
                  <a:schemeClr val="bg1"/>
                </a:solidFill>
              </a:rPr>
              <a:t>practical tools</a:t>
            </a:r>
            <a:r>
              <a:rPr lang="en-US">
                <a:solidFill>
                  <a:schemeClr val="bg1"/>
                </a:solidFill>
              </a:rPr>
              <a:t> </a:t>
            </a:r>
            <a:r>
              <a:rPr lang="en-US">
                <a:solidFill>
                  <a:schemeClr val="accent1">
                    <a:lumMod val="90000"/>
                  </a:schemeClr>
                </a:solidFill>
              </a:rPr>
              <a:t>that are at the core of our offerings.</a:t>
            </a:r>
          </a:p>
        </p:txBody>
      </p:sp>
    </p:spTree>
    <p:extLst>
      <p:ext uri="{BB962C8B-B14F-4D97-AF65-F5344CB8AC3E}">
        <p14:creationId xmlns:p14="http://schemas.microsoft.com/office/powerpoint/2010/main" val="2385735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330" name="Picture 329">
            <a:extLst>
              <a:ext uri="{FF2B5EF4-FFF2-40B4-BE49-F238E27FC236}">
                <a16:creationId xmlns:a16="http://schemas.microsoft.com/office/drawing/2014/main" id="{1BE4BCF6-9E92-45E8-89F6-CC57B5018CA1}"/>
              </a:ext>
              <a:ext uri="{C183D7F6-B498-43B3-948B-1728B52AA6E4}">
                <adec:decorative xmlns:adec="http://schemas.microsoft.com/office/drawing/2017/decorative" val="1"/>
              </a:ext>
            </a:extLst>
          </p:cNvPr>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rot="10800000">
            <a:off x="1" y="3933699"/>
            <a:ext cx="12192000" cy="1801939"/>
          </a:xfrm>
          <a:prstGeom prst="rect">
            <a:avLst/>
          </a:prstGeom>
        </p:spPr>
      </p:pic>
      <p:pic>
        <p:nvPicPr>
          <p:cNvPr id="331" name="Picture 330">
            <a:extLst>
              <a:ext uri="{FF2B5EF4-FFF2-40B4-BE49-F238E27FC236}">
                <a16:creationId xmlns:a16="http://schemas.microsoft.com/office/drawing/2014/main" id="{8C61108E-E18F-462D-8325-BE454248AF0E}"/>
              </a:ext>
              <a:ext uri="{C183D7F6-B498-43B3-948B-1728B52AA6E4}">
                <adec:decorative xmlns:adec="http://schemas.microsoft.com/office/drawing/2017/decorative" val="1"/>
              </a:ext>
            </a:extLst>
          </p:cNvPr>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1" y="757832"/>
            <a:ext cx="12192000" cy="1801939"/>
          </a:xfrm>
          <a:prstGeom prst="rect">
            <a:avLst/>
          </a:prstGeom>
        </p:spPr>
      </p:pic>
      <p:sp>
        <p:nvSpPr>
          <p:cNvPr id="329" name="Parallelogram 328">
            <a:extLst>
              <a:ext uri="{FF2B5EF4-FFF2-40B4-BE49-F238E27FC236}">
                <a16:creationId xmlns:a16="http://schemas.microsoft.com/office/drawing/2014/main" id="{6551C16D-7D05-42EB-A655-79CD040D8CC6}"/>
              </a:ext>
              <a:ext uri="{C183D7F6-B498-43B3-948B-1728B52AA6E4}">
                <adec:decorative xmlns:adec="http://schemas.microsoft.com/office/drawing/2017/decorative" val="1"/>
              </a:ext>
            </a:extLst>
          </p:cNvPr>
          <p:cNvSpPr>
            <a:spLocks noChangeAspect="1"/>
          </p:cNvSpPr>
          <p:nvPr userDrawn="1"/>
        </p:nvSpPr>
        <p:spPr bwMode="gray">
          <a:xfrm flipH="1">
            <a:off x="903039" y="1033887"/>
            <a:ext cx="5894303" cy="4425696"/>
          </a:xfrm>
          <a:prstGeom prst="parallelogram">
            <a:avLst>
              <a:gd name="adj" fmla="val 64560"/>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 Subtitle"/>
          <p:cNvSpPr>
            <a:spLocks noGrp="1"/>
          </p:cNvSpPr>
          <p:nvPr userDrawn="1">
            <p:ph type="body" sz="quarter" idx="19" hasCustomPrompt="1"/>
          </p:nvPr>
        </p:nvSpPr>
        <p:spPr bwMode="gray">
          <a:xfrm>
            <a:off x="2708217" y="3804911"/>
            <a:ext cx="7958141" cy="1348061"/>
          </a:xfrm>
        </p:spPr>
        <p:txBody>
          <a:bodyPr/>
          <a:lstStyle>
            <a:lvl1pPr marL="0" indent="0">
              <a:lnSpc>
                <a:spcPct val="90000"/>
              </a:lnSpc>
              <a:spcBef>
                <a:spcPts val="0"/>
              </a:spcBef>
              <a:buNone/>
              <a:defRPr sz="4800">
                <a:solidFill>
                  <a:schemeClr val="tx1"/>
                </a:solidFill>
                <a:latin typeface="+mj-lt"/>
                <a:cs typeface="Times New Roman" panose="02020603050405020304" pitchFamily="18" charset="0"/>
              </a:defRPr>
            </a:lvl1pPr>
            <a:lvl2pPr marL="114300" indent="0">
              <a:spcBef>
                <a:spcPts val="0"/>
              </a:spcBef>
              <a:buNone/>
              <a:defRPr sz="1100">
                <a:solidFill>
                  <a:schemeClr val="accent1"/>
                </a:solidFill>
              </a:defRPr>
            </a:lvl2pPr>
            <a:lvl3pPr marL="228600" indent="0">
              <a:spcBef>
                <a:spcPts val="0"/>
              </a:spcBef>
              <a:buNone/>
              <a:defRPr sz="1100">
                <a:solidFill>
                  <a:schemeClr val="accent1"/>
                </a:solidFill>
              </a:defRPr>
            </a:lvl3pPr>
            <a:lvl4pPr marL="342900" indent="0">
              <a:spcBef>
                <a:spcPts val="0"/>
              </a:spcBef>
              <a:buNone/>
              <a:defRPr sz="1100">
                <a:solidFill>
                  <a:schemeClr val="accent1"/>
                </a:solidFill>
              </a:defRPr>
            </a:lvl4pPr>
            <a:lvl5pPr marL="457200" indent="0">
              <a:spcBef>
                <a:spcPts val="0"/>
              </a:spcBef>
              <a:buNone/>
              <a:defRPr sz="1100">
                <a:solidFill>
                  <a:schemeClr val="accent1"/>
                </a:solidFill>
              </a:defRPr>
            </a:lvl5pPr>
          </a:lstStyle>
          <a:p>
            <a:pPr lvl="0"/>
            <a:r>
              <a:rPr lang="en-US"/>
              <a:t>Section title – TNR 48pt, sentence case</a:t>
            </a:r>
          </a:p>
        </p:txBody>
      </p:sp>
      <p:sp>
        <p:nvSpPr>
          <p:cNvPr id="37" name="Slide Numbe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accent4"/>
                </a:solidFill>
                <a:latin typeface="+mn-lt"/>
                <a:cs typeface="Arial" panose="020B0604020202020204" pitchFamily="34" charset="0"/>
              </a:rPr>
              <a:t>‹#›</a:t>
            </a:fld>
            <a:endParaRPr lang="en-US" sz="1200" b="1">
              <a:solidFill>
                <a:schemeClr val="accent4"/>
              </a:solidFill>
              <a:latin typeface="+mn-lt"/>
            </a:endParaRPr>
          </a:p>
        </p:txBody>
      </p:sp>
      <p:sp>
        <p:nvSpPr>
          <p:cNvPr id="4" name="Text Placeholder 3"/>
          <p:cNvSpPr>
            <a:spLocks noGrp="1"/>
          </p:cNvSpPr>
          <p:nvPr userDrawn="1">
            <p:ph type="body" sz="quarter" idx="20" hasCustomPrompt="1"/>
          </p:nvPr>
        </p:nvSpPr>
        <p:spPr bwMode="gray">
          <a:xfrm>
            <a:off x="2641867" y="1718186"/>
            <a:ext cx="2257425" cy="2308324"/>
          </a:xfrm>
        </p:spPr>
        <p:txBody>
          <a:bodyPr/>
          <a:lstStyle>
            <a:lvl1pPr marL="0" indent="0">
              <a:spcBef>
                <a:spcPts val="0"/>
              </a:spcBef>
              <a:buNone/>
              <a:defRPr sz="15000">
                <a:latin typeface="+mj-lt"/>
                <a:cs typeface="Times New Roman" panose="02020603050405020304" pitchFamily="18" charset="0"/>
              </a:defRPr>
            </a:lvl1pPr>
          </a:lstStyle>
          <a:p>
            <a:pPr lvl="0"/>
            <a:r>
              <a:rPr lang="en-US"/>
              <a:t>01</a:t>
            </a:r>
          </a:p>
        </p:txBody>
      </p:sp>
      <p:pic>
        <p:nvPicPr>
          <p:cNvPr id="187" name="Graphic 186">
            <a:extLst>
              <a:ext uri="{FF2B5EF4-FFF2-40B4-BE49-F238E27FC236}">
                <a16:creationId xmlns:a16="http://schemas.microsoft.com/office/drawing/2014/main" id="{706DDC79-2967-446F-878C-34C504393423}"/>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bwMode="gray">
          <a:xfrm>
            <a:off x="609601" y="6273198"/>
            <a:ext cx="1051558" cy="291148"/>
          </a:xfrm>
          <a:prstGeom prst="rect">
            <a:avLst/>
          </a:prstGeom>
        </p:spPr>
      </p:pic>
      <p:pic>
        <p:nvPicPr>
          <p:cNvPr id="168" name="Graphic 167">
            <a:extLst>
              <a:ext uri="{FF2B5EF4-FFF2-40B4-BE49-F238E27FC236}">
                <a16:creationId xmlns:a16="http://schemas.microsoft.com/office/drawing/2014/main" id="{E2516D7D-1315-4D9E-A9B0-56715346A78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896065" y="6311465"/>
            <a:ext cx="9281141" cy="101571"/>
          </a:xfrm>
          <a:prstGeom prst="rect">
            <a:avLst/>
          </a:prstGeom>
        </p:spPr>
      </p:pic>
    </p:spTree>
    <p:extLst>
      <p:ext uri="{BB962C8B-B14F-4D97-AF65-F5344CB8AC3E}">
        <p14:creationId xmlns:p14="http://schemas.microsoft.com/office/powerpoint/2010/main" val="4051272027"/>
      </p:ext>
    </p:extLst>
  </p:cSld>
  <p:clrMapOvr>
    <a:masterClrMapping/>
  </p:clrMapOvr>
  <p:extLst>
    <p:ext uri="{DCECCB84-F9BA-43D5-87BE-67443E8EF086}">
      <p15:sldGuideLst xmlns:p15="http://schemas.microsoft.com/office/powerpoint/2012/main">
        <p15:guide id="1" pos="1704">
          <p15:clr>
            <a:srgbClr val="FBAE40"/>
          </p15:clr>
        </p15:guide>
        <p15:guide id="2" pos="6722">
          <p15:clr>
            <a:srgbClr val="FBAE40"/>
          </p15:clr>
        </p15:guide>
        <p15:guide id="3" orient="horz" pos="239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9" name="Placeholder - Footnote"/>
          <p:cNvSpPr>
            <a:spLocks noGrp="1"/>
          </p:cNvSpPr>
          <p:nvPr>
            <p:ph type="body" sz="quarter" idx="28" hasCustomPrompt="1"/>
          </p:nvPr>
        </p:nvSpPr>
        <p:spPr bwMode="gray">
          <a:xfrm>
            <a:off x="612773" y="5952324"/>
            <a:ext cx="3657600" cy="215444"/>
          </a:xfrm>
        </p:spPr>
        <p:txBody>
          <a:bodyPr lIns="0" rIns="0" bIns="0" anchor="b" anchorCtr="0"/>
          <a:lstStyle>
            <a:lvl1pPr marL="115888" indent="-115888">
              <a:spcBef>
                <a:spcPts val="200"/>
              </a:spcBef>
              <a:buClr>
                <a:schemeClr val="accent3"/>
              </a:buClr>
              <a:buFont typeface="+mj-lt"/>
              <a:buAutoNum type="arabicPeriod"/>
              <a:defRPr lang="en-US" sz="700" kern="1200" baseline="0" dirty="0" smtClean="0">
                <a:solidFill>
                  <a:schemeClr val="accent3"/>
                </a:solidFill>
                <a:latin typeface="+mn-lt"/>
                <a:ea typeface="+mn-ea"/>
                <a:cs typeface="+mn-cs"/>
              </a:defRPr>
            </a:lvl1pPr>
            <a:lvl2pPr marL="114300" indent="0">
              <a:spcBef>
                <a:spcPts val="0"/>
              </a:spcBef>
              <a:buNone/>
              <a:defRPr sz="500"/>
            </a:lvl2pPr>
            <a:lvl3pPr marL="228600" indent="0">
              <a:spcBef>
                <a:spcPts val="0"/>
              </a:spcBef>
              <a:buNone/>
              <a:defRPr sz="500"/>
            </a:lvl3pPr>
            <a:lvl4pPr marL="342900" indent="0">
              <a:spcBef>
                <a:spcPts val="0"/>
              </a:spcBef>
              <a:buNone/>
              <a:defRPr sz="500"/>
            </a:lvl4pPr>
            <a:lvl5pPr marL="457200" indent="0">
              <a:spcBef>
                <a:spcPts val="0"/>
              </a:spcBef>
              <a:buNone/>
              <a:defRPr sz="500"/>
            </a:lvl5pPr>
          </a:lstStyle>
          <a:p>
            <a:pPr lvl="0"/>
            <a:r>
              <a:rPr lang="en-US"/>
              <a:t>Click to add footnote. Numbers appear automatically (no additional space or tab needed). Use a period at the end of each footnote. Stretch the box to the right as needed.</a:t>
            </a:r>
          </a:p>
        </p:txBody>
      </p:sp>
      <p:sp>
        <p:nvSpPr>
          <p:cNvPr id="27" name="Placeholder - Source"/>
          <p:cNvSpPr>
            <a:spLocks noGrp="1"/>
          </p:cNvSpPr>
          <p:nvPr>
            <p:ph type="body" sz="quarter" idx="27" hasCustomPrompt="1"/>
          </p:nvPr>
        </p:nvSpPr>
        <p:spPr bwMode="gray">
          <a:xfrm>
            <a:off x="8809022" y="5952324"/>
            <a:ext cx="2767408" cy="215444"/>
          </a:xfrm>
        </p:spPr>
        <p:txBody>
          <a:bodyPr rIns="0" bIns="0" anchor="b" anchorCtr="0"/>
          <a:lstStyle>
            <a:lvl1pPr marL="0" indent="0">
              <a:spcBef>
                <a:spcPts val="0"/>
              </a:spcBef>
              <a:buNone/>
              <a:defRPr sz="700" baseline="0">
                <a:solidFill>
                  <a:schemeClr val="accent3"/>
                </a:solidFill>
              </a:defRPr>
            </a:lvl1pPr>
            <a:lvl2pPr marL="114300" indent="0">
              <a:spcBef>
                <a:spcPts val="0"/>
              </a:spcBef>
              <a:buNone/>
              <a:defRPr sz="500"/>
            </a:lvl2pPr>
            <a:lvl3pPr marL="228600" indent="0">
              <a:spcBef>
                <a:spcPts val="0"/>
              </a:spcBef>
              <a:buNone/>
              <a:defRPr sz="500"/>
            </a:lvl3pPr>
            <a:lvl4pPr marL="342900" indent="0">
              <a:spcBef>
                <a:spcPts val="0"/>
              </a:spcBef>
              <a:buNone/>
              <a:defRPr sz="500"/>
            </a:lvl4pPr>
            <a:lvl5pPr marL="457200" indent="0">
              <a:spcBef>
                <a:spcPts val="0"/>
              </a:spcBef>
              <a:buNone/>
              <a:defRPr sz="500"/>
            </a:lvl5pPr>
          </a:lstStyle>
          <a:p>
            <a:pPr lvl="0"/>
            <a:r>
              <a:rPr lang="en-US"/>
              <a:t>Source: Click to add source. Use a single space after “Source:” and a period at the end of the source. Stretch the box to the left as needed.</a:t>
            </a:r>
          </a:p>
        </p:txBody>
      </p:sp>
      <p:sp>
        <p:nvSpPr>
          <p:cNvPr id="2" name="Title 1"/>
          <p:cNvSpPr>
            <a:spLocks noGrp="1"/>
          </p:cNvSpPr>
          <p:nvPr>
            <p:ph type="title" hasCustomPrompt="1"/>
          </p:nvPr>
        </p:nvSpPr>
        <p:spPr bwMode="gray">
          <a:xfrm>
            <a:off x="612774" y="588771"/>
            <a:ext cx="10972801" cy="540917"/>
          </a:xfrm>
        </p:spPr>
        <p:txBody>
          <a:bodyPr/>
          <a:lstStyle>
            <a:lvl1pPr>
              <a:defRPr/>
            </a:lvl1pPr>
          </a:lstStyle>
          <a:p>
            <a:r>
              <a:rPr lang="en-US"/>
              <a:t>Slide title, Times New Roman 38pt, sentence case</a:t>
            </a:r>
          </a:p>
        </p:txBody>
      </p:sp>
      <p:sp>
        <p:nvSpPr>
          <p:cNvPr id="228" name="Slide Number">
            <a:extLst>
              <a:ext uri="{FF2B5EF4-FFF2-40B4-BE49-F238E27FC236}">
                <a16:creationId xmlns:a16="http://schemas.microsoft.com/office/drawing/2014/main" id="{32F00C1D-B606-44BC-A70C-599AD1779AC9}"/>
              </a:ext>
            </a:extLst>
          </p:cNvP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accent4"/>
                </a:solidFill>
                <a:latin typeface="+mn-lt"/>
                <a:cs typeface="Arial" panose="020B0604020202020204" pitchFamily="34" charset="0"/>
              </a:rPr>
              <a:t>‹#›</a:t>
            </a:fld>
            <a:endParaRPr lang="en-US" sz="1200" b="1">
              <a:solidFill>
                <a:schemeClr val="accent4"/>
              </a:solidFill>
              <a:latin typeface="+mn-lt"/>
            </a:endParaRPr>
          </a:p>
        </p:txBody>
      </p:sp>
      <p:pic>
        <p:nvPicPr>
          <p:cNvPr id="229" name="Graphic 228">
            <a:extLst>
              <a:ext uri="{FF2B5EF4-FFF2-40B4-BE49-F238E27FC236}">
                <a16:creationId xmlns:a16="http://schemas.microsoft.com/office/drawing/2014/main" id="{EC5DBFAD-83A3-48FD-AE5A-C5DDE87105D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gray">
          <a:xfrm>
            <a:off x="609601" y="6273198"/>
            <a:ext cx="1051558" cy="291148"/>
          </a:xfrm>
          <a:prstGeom prst="rect">
            <a:avLst/>
          </a:prstGeom>
        </p:spPr>
      </p:pic>
      <p:pic>
        <p:nvPicPr>
          <p:cNvPr id="196" name="Graphic 195">
            <a:extLst>
              <a:ext uri="{FF2B5EF4-FFF2-40B4-BE49-F238E27FC236}">
                <a16:creationId xmlns:a16="http://schemas.microsoft.com/office/drawing/2014/main" id="{CB71F512-DF86-4D8A-8A82-08F0E2494B8E}"/>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896065" y="6311465"/>
            <a:ext cx="9281141" cy="101571"/>
          </a:xfrm>
          <a:prstGeom prst="rect">
            <a:avLst/>
          </a:prstGeom>
        </p:spPr>
      </p:pic>
    </p:spTree>
    <p:extLst>
      <p:ext uri="{BB962C8B-B14F-4D97-AF65-F5344CB8AC3E}">
        <p14:creationId xmlns:p14="http://schemas.microsoft.com/office/powerpoint/2010/main" val="980274429"/>
      </p:ext>
    </p:extLst>
  </p:cSld>
  <p:clrMapOvr>
    <a:masterClrMapping/>
  </p:clrMapOvr>
  <p:extLst>
    <p:ext uri="{DCECCB84-F9BA-43D5-87BE-67443E8EF086}">
      <p15:sldGuideLst xmlns:p15="http://schemas.microsoft.com/office/powerpoint/2012/main">
        <p15:guide id="1" orient="horz" pos="3889">
          <p15:clr>
            <a:srgbClr val="FBAE40"/>
          </p15:clr>
        </p15:guide>
        <p15:guide id="2" orient="horz" pos="10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pact slide - Dark">
    <p:bg bwMode="gray">
      <p:bgPr>
        <a:solidFill>
          <a:schemeClr val="accent5"/>
        </a:solidFill>
        <a:effectLst/>
      </p:bgPr>
    </p:bg>
    <p:spTree>
      <p:nvGrpSpPr>
        <p:cNvPr id="1" name=""/>
        <p:cNvGrpSpPr/>
        <p:nvPr/>
      </p:nvGrpSpPr>
      <p:grpSpPr>
        <a:xfrm>
          <a:off x="0" y="0"/>
          <a:ext cx="0" cy="0"/>
          <a:chOff x="0" y="0"/>
          <a:chExt cx="0" cy="0"/>
        </a:xfrm>
      </p:grpSpPr>
      <p:sp>
        <p:nvSpPr>
          <p:cNvPr id="166" name="Parallelogram 165">
            <a:extLst>
              <a:ext uri="{FF2B5EF4-FFF2-40B4-BE49-F238E27FC236}">
                <a16:creationId xmlns:a16="http://schemas.microsoft.com/office/drawing/2014/main" id="{D108E857-2F65-45BF-88AB-8965CF812E48}"/>
              </a:ext>
              <a:ext uri="{C183D7F6-B498-43B3-948B-1728B52AA6E4}">
                <adec:decorative xmlns:adec="http://schemas.microsoft.com/office/drawing/2017/decorative" val="1"/>
              </a:ext>
            </a:extLst>
          </p:cNvPr>
          <p:cNvSpPr>
            <a:spLocks noChangeAspect="1"/>
          </p:cNvSpPr>
          <p:nvPr userDrawn="1"/>
        </p:nvSpPr>
        <p:spPr bwMode="gray">
          <a:xfrm flipH="1">
            <a:off x="3265729" y="1216152"/>
            <a:ext cx="5660542" cy="4425696"/>
          </a:xfrm>
          <a:prstGeom prst="parallelogram">
            <a:avLst>
              <a:gd name="adj" fmla="val 65186"/>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4"/>
          <p:cNvSpPr>
            <a:spLocks noGrp="1"/>
          </p:cNvSpPr>
          <p:nvPr userDrawn="1">
            <p:ph type="body" sz="quarter" idx="27" hasCustomPrompt="1"/>
          </p:nvPr>
        </p:nvSpPr>
        <p:spPr bwMode="gray">
          <a:xfrm>
            <a:off x="1231665" y="2084548"/>
            <a:ext cx="9728671" cy="2166747"/>
          </a:xfrm>
        </p:spPr>
        <p:txBody>
          <a:bodyPr>
            <a:spAutoFit/>
          </a:bodyPr>
          <a:lstStyle>
            <a:lvl1pPr marL="0" indent="0">
              <a:lnSpc>
                <a:spcPct val="110000"/>
              </a:lnSpc>
              <a:spcBef>
                <a:spcPts val="1800"/>
              </a:spcBef>
              <a:buNone/>
              <a:defRPr sz="3200" baseline="0">
                <a:solidFill>
                  <a:schemeClr val="bg1"/>
                </a:solidFill>
                <a:latin typeface="+mj-lt"/>
                <a:cs typeface="Times New Roman" panose="02020603050405020304" pitchFamily="18" charset="0"/>
              </a:defRPr>
            </a:lvl1pPr>
            <a:lvl2pPr marL="163289" indent="0">
              <a:spcBef>
                <a:spcPts val="0"/>
              </a:spcBef>
              <a:buNone/>
              <a:defRPr sz="2000">
                <a:solidFill>
                  <a:schemeClr val="accent3"/>
                </a:solidFill>
              </a:defRPr>
            </a:lvl2pPr>
            <a:lvl3pPr marL="326578" indent="0">
              <a:spcBef>
                <a:spcPts val="0"/>
              </a:spcBef>
              <a:buNone/>
              <a:defRPr sz="2000">
                <a:solidFill>
                  <a:schemeClr val="accent3"/>
                </a:solidFill>
              </a:defRPr>
            </a:lvl3pPr>
            <a:lvl4pPr marL="489867" indent="0">
              <a:spcBef>
                <a:spcPts val="0"/>
              </a:spcBef>
              <a:buNone/>
              <a:defRPr sz="2000">
                <a:solidFill>
                  <a:schemeClr val="accent3"/>
                </a:solidFill>
              </a:defRPr>
            </a:lvl4pPr>
            <a:lvl5pPr marL="653156" indent="0">
              <a:spcBef>
                <a:spcPts val="0"/>
              </a:spcBef>
              <a:buNone/>
              <a:defRPr sz="2000">
                <a:solidFill>
                  <a:schemeClr val="accent3"/>
                </a:solidFill>
              </a:defRPr>
            </a:lvl5pPr>
          </a:lstStyle>
          <a:p>
            <a:pPr lvl="0"/>
            <a:r>
              <a:rPr lang="en-US"/>
              <a:t>“Previously, I would never know if employees had their most productive day. The employee wouldn’t even know. Now throughout the day, we both know if they are tracking to have their ‘best day ever’ and we can celebrate it!”</a:t>
            </a:r>
          </a:p>
        </p:txBody>
      </p:sp>
      <p:sp>
        <p:nvSpPr>
          <p:cNvPr id="14" name="Text Placeholder 6"/>
          <p:cNvSpPr>
            <a:spLocks noGrp="1"/>
          </p:cNvSpPr>
          <p:nvPr userDrawn="1">
            <p:ph type="body" sz="quarter" idx="28" hasCustomPrompt="1"/>
          </p:nvPr>
        </p:nvSpPr>
        <p:spPr bwMode="gray">
          <a:xfrm>
            <a:off x="8805798" y="5952207"/>
            <a:ext cx="2770632" cy="215444"/>
          </a:xfrm>
        </p:spPr>
        <p:txBody>
          <a:bodyPr rIns="0" bIns="0" anchor="b" anchorCtr="0"/>
          <a:lstStyle>
            <a:lvl1pPr marL="0" indent="0">
              <a:spcBef>
                <a:spcPts val="0"/>
              </a:spcBef>
              <a:buNone/>
              <a:defRPr sz="700">
                <a:solidFill>
                  <a:schemeClr val="accent3"/>
                </a:solidFill>
              </a:defRPr>
            </a:lvl1pPr>
            <a:lvl2pPr marL="163289" indent="0">
              <a:spcBef>
                <a:spcPts val="0"/>
              </a:spcBef>
              <a:buNone/>
              <a:defRPr sz="714"/>
            </a:lvl2pPr>
            <a:lvl3pPr marL="326578" indent="0">
              <a:spcBef>
                <a:spcPts val="0"/>
              </a:spcBef>
              <a:buNone/>
              <a:defRPr sz="714"/>
            </a:lvl3pPr>
            <a:lvl4pPr marL="489867" indent="0">
              <a:spcBef>
                <a:spcPts val="0"/>
              </a:spcBef>
              <a:buNone/>
              <a:defRPr sz="714"/>
            </a:lvl4pPr>
            <a:lvl5pPr marL="653156" indent="0">
              <a:spcBef>
                <a:spcPts val="0"/>
              </a:spcBef>
              <a:buNone/>
              <a:defRPr sz="714"/>
            </a:lvl5pPr>
          </a:lstStyle>
          <a:p>
            <a:pPr lvl="0"/>
            <a:r>
              <a:rPr lang="en-US"/>
              <a:t>Source: Click to add source. Use a single space after “Source:” and a period at the end of the source. Stretch the box to the left as needed.</a:t>
            </a:r>
          </a:p>
        </p:txBody>
      </p:sp>
      <p:sp>
        <p:nvSpPr>
          <p:cNvPr id="9" name="Text Placeholder 6"/>
          <p:cNvSpPr>
            <a:spLocks noGrp="1"/>
          </p:cNvSpPr>
          <p:nvPr userDrawn="1">
            <p:ph type="body" sz="quarter" idx="30" hasCustomPrompt="1"/>
          </p:nvPr>
        </p:nvSpPr>
        <p:spPr bwMode="gray">
          <a:xfrm>
            <a:off x="612773" y="5952207"/>
            <a:ext cx="3657600" cy="215444"/>
          </a:xfrm>
        </p:spPr>
        <p:txBody>
          <a:bodyPr lIns="0" rIns="0" bIns="0" anchor="b" anchorCtr="0"/>
          <a:lstStyle>
            <a:lvl1pPr marL="115888" indent="-115888">
              <a:spcBef>
                <a:spcPts val="200"/>
              </a:spcBef>
              <a:buClr>
                <a:schemeClr val="accent3"/>
              </a:buClr>
              <a:buFont typeface="+mj-lt"/>
              <a:buAutoNum type="arabicPeriod"/>
              <a:defRPr sz="700">
                <a:solidFill>
                  <a:schemeClr val="accent3"/>
                </a:solidFill>
              </a:defRPr>
            </a:lvl1pPr>
            <a:lvl2pPr marL="163289" indent="0">
              <a:spcBef>
                <a:spcPts val="0"/>
              </a:spcBef>
              <a:buNone/>
              <a:defRPr sz="714"/>
            </a:lvl2pPr>
            <a:lvl3pPr marL="326578" indent="0">
              <a:spcBef>
                <a:spcPts val="0"/>
              </a:spcBef>
              <a:buNone/>
              <a:defRPr sz="714"/>
            </a:lvl3pPr>
            <a:lvl4pPr marL="489867" indent="0">
              <a:spcBef>
                <a:spcPts val="0"/>
              </a:spcBef>
              <a:buNone/>
              <a:defRPr sz="714"/>
            </a:lvl4pPr>
            <a:lvl5pPr marL="653156" indent="0">
              <a:spcBef>
                <a:spcPts val="0"/>
              </a:spcBef>
              <a:buNone/>
              <a:defRPr sz="714"/>
            </a:lvl5pPr>
          </a:lstStyle>
          <a:p>
            <a:pPr lvl="0"/>
            <a:r>
              <a:rPr lang="en-US"/>
              <a:t>Click to add footnote. Numbers appear automatically (no additional space or tab needed). Use a period at the end of each footnote. Stretch the box to the right as needed.</a:t>
            </a:r>
          </a:p>
        </p:txBody>
      </p:sp>
      <p:sp>
        <p:nvSpPr>
          <p:cNvPr id="167" name="Slide Number">
            <a:extLst>
              <a:ext uri="{FF2B5EF4-FFF2-40B4-BE49-F238E27FC236}">
                <a16:creationId xmlns:a16="http://schemas.microsoft.com/office/drawing/2014/main" id="{6754ED1A-2097-4104-9479-BB369FD3B52D}"/>
              </a:ext>
            </a:extLst>
          </p:cNvP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bg1"/>
                </a:solidFill>
                <a:latin typeface="+mn-lt"/>
                <a:cs typeface="Arial" panose="020B0604020202020204" pitchFamily="34" charset="0"/>
              </a:rPr>
              <a:t>‹#›</a:t>
            </a:fld>
            <a:endParaRPr lang="en-US" sz="1200" b="1">
              <a:solidFill>
                <a:schemeClr val="bg1"/>
              </a:solidFill>
              <a:latin typeface="+mn-lt"/>
            </a:endParaRPr>
          </a:p>
        </p:txBody>
      </p:sp>
      <p:pic>
        <p:nvPicPr>
          <p:cNvPr id="169" name="Graphic 168">
            <a:extLst>
              <a:ext uri="{FF2B5EF4-FFF2-40B4-BE49-F238E27FC236}">
                <a16:creationId xmlns:a16="http://schemas.microsoft.com/office/drawing/2014/main" id="{183B66EE-8447-4829-BF62-C83DCE5FE13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gray">
          <a:xfrm>
            <a:off x="609600" y="6273198"/>
            <a:ext cx="1051560" cy="291148"/>
          </a:xfrm>
          <a:prstGeom prst="rect">
            <a:avLst/>
          </a:prstGeom>
        </p:spPr>
      </p:pic>
      <p:pic>
        <p:nvPicPr>
          <p:cNvPr id="168" name="Graphic 167">
            <a:extLst>
              <a:ext uri="{FF2B5EF4-FFF2-40B4-BE49-F238E27FC236}">
                <a16:creationId xmlns:a16="http://schemas.microsoft.com/office/drawing/2014/main" id="{650BCF0F-4A5E-4085-9F61-DCE145DD197C}"/>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896065" y="6311465"/>
            <a:ext cx="9281141" cy="101571"/>
          </a:xfrm>
          <a:prstGeom prst="rect">
            <a:avLst/>
          </a:prstGeom>
        </p:spPr>
      </p:pic>
    </p:spTree>
    <p:extLst>
      <p:ext uri="{BB962C8B-B14F-4D97-AF65-F5344CB8AC3E}">
        <p14:creationId xmlns:p14="http://schemas.microsoft.com/office/powerpoint/2010/main" val="2498212978"/>
      </p:ext>
    </p:extLst>
  </p:cSld>
  <p:clrMapOvr>
    <a:masterClrMapping/>
  </p:clrMapOvr>
  <p:extLst>
    <p:ext uri="{DCECCB84-F9BA-43D5-87BE-67443E8EF086}">
      <p15:sldGuideLst xmlns:p15="http://schemas.microsoft.com/office/powerpoint/2012/main">
        <p15:guide id="1" orient="horz" pos="3889">
          <p15:clr>
            <a:srgbClr val="FBAE40"/>
          </p15:clr>
        </p15:guide>
        <p15:guide id="2" orient="horz" pos="4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pact slide - Light">
    <p:bg bwMode="gray">
      <p:bgPr>
        <a:solidFill>
          <a:schemeClr val="tx2"/>
        </a:solidFill>
        <a:effectLst/>
      </p:bgPr>
    </p:bg>
    <p:spTree>
      <p:nvGrpSpPr>
        <p:cNvPr id="1" name=""/>
        <p:cNvGrpSpPr/>
        <p:nvPr/>
      </p:nvGrpSpPr>
      <p:grpSpPr>
        <a:xfrm>
          <a:off x="0" y="0"/>
          <a:ext cx="0" cy="0"/>
          <a:chOff x="0" y="0"/>
          <a:chExt cx="0" cy="0"/>
        </a:xfrm>
      </p:grpSpPr>
      <p:pic>
        <p:nvPicPr>
          <p:cNvPr id="176" name="Picture 175">
            <a:extLst>
              <a:ext uri="{FF2B5EF4-FFF2-40B4-BE49-F238E27FC236}">
                <a16:creationId xmlns:a16="http://schemas.microsoft.com/office/drawing/2014/main" id="{BB396139-6543-461A-B7C5-9FEBB6C93140}"/>
              </a:ext>
              <a:ext uri="{C183D7F6-B498-43B3-948B-1728B52AA6E4}">
                <adec:decorative xmlns:adec="http://schemas.microsoft.com/office/drawing/2017/decorative" val="1"/>
              </a:ext>
            </a:extLst>
          </p:cNvPr>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rot="10800000">
            <a:off x="1" y="3933699"/>
            <a:ext cx="12192000" cy="1801939"/>
          </a:xfrm>
          <a:prstGeom prst="rect">
            <a:avLst/>
          </a:prstGeom>
        </p:spPr>
      </p:pic>
      <p:pic>
        <p:nvPicPr>
          <p:cNvPr id="177" name="Picture 176">
            <a:extLst>
              <a:ext uri="{FF2B5EF4-FFF2-40B4-BE49-F238E27FC236}">
                <a16:creationId xmlns:a16="http://schemas.microsoft.com/office/drawing/2014/main" id="{C451F22D-8094-473F-B672-CFEFBCCECADE}"/>
              </a:ext>
              <a:ext uri="{C183D7F6-B498-43B3-948B-1728B52AA6E4}">
                <adec:decorative xmlns:adec="http://schemas.microsoft.com/office/drawing/2017/decorative" val="1"/>
              </a:ext>
            </a:extLst>
          </p:cNvPr>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1" y="757832"/>
            <a:ext cx="12192000" cy="1801939"/>
          </a:xfrm>
          <a:prstGeom prst="rect">
            <a:avLst/>
          </a:prstGeom>
        </p:spPr>
      </p:pic>
      <p:sp>
        <p:nvSpPr>
          <p:cNvPr id="173" name="Parallelogram 172">
            <a:extLst>
              <a:ext uri="{FF2B5EF4-FFF2-40B4-BE49-F238E27FC236}">
                <a16:creationId xmlns:a16="http://schemas.microsoft.com/office/drawing/2014/main" id="{BEF50957-B6B6-44D1-8413-6ADF8E668227}"/>
              </a:ext>
              <a:ext uri="{C183D7F6-B498-43B3-948B-1728B52AA6E4}">
                <adec:decorative xmlns:adec="http://schemas.microsoft.com/office/drawing/2017/decorative" val="1"/>
              </a:ext>
            </a:extLst>
          </p:cNvPr>
          <p:cNvSpPr>
            <a:spLocks noChangeAspect="1"/>
          </p:cNvSpPr>
          <p:nvPr userDrawn="1"/>
        </p:nvSpPr>
        <p:spPr bwMode="gray">
          <a:xfrm flipH="1">
            <a:off x="3265729" y="1039150"/>
            <a:ext cx="5660542" cy="4425696"/>
          </a:xfrm>
          <a:prstGeom prst="parallelogram">
            <a:avLst>
              <a:gd name="adj" fmla="val 65186"/>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4"/>
          <p:cNvSpPr>
            <a:spLocks noGrp="1"/>
          </p:cNvSpPr>
          <p:nvPr userDrawn="1">
            <p:ph type="body" sz="quarter" idx="27" hasCustomPrompt="1"/>
          </p:nvPr>
        </p:nvSpPr>
        <p:spPr bwMode="gray">
          <a:xfrm>
            <a:off x="1231664" y="2168625"/>
            <a:ext cx="9728671" cy="2166747"/>
          </a:xfrm>
        </p:spPr>
        <p:txBody>
          <a:bodyPr>
            <a:spAutoFit/>
          </a:bodyPr>
          <a:lstStyle>
            <a:lvl1pPr marL="0" indent="0">
              <a:lnSpc>
                <a:spcPct val="110000"/>
              </a:lnSpc>
              <a:spcBef>
                <a:spcPts val="1800"/>
              </a:spcBef>
              <a:buNone/>
              <a:defRPr sz="3200" baseline="0">
                <a:solidFill>
                  <a:schemeClr val="tx1"/>
                </a:solidFill>
                <a:latin typeface="+mj-lt"/>
                <a:cs typeface="Times New Roman" panose="02020603050405020304" pitchFamily="18" charset="0"/>
              </a:defRPr>
            </a:lvl1pPr>
            <a:lvl2pPr marL="163289" indent="0">
              <a:spcBef>
                <a:spcPts val="0"/>
              </a:spcBef>
              <a:buNone/>
              <a:defRPr sz="2000">
                <a:solidFill>
                  <a:schemeClr val="accent3"/>
                </a:solidFill>
              </a:defRPr>
            </a:lvl2pPr>
            <a:lvl3pPr marL="326578" indent="0">
              <a:spcBef>
                <a:spcPts val="0"/>
              </a:spcBef>
              <a:buNone/>
              <a:defRPr sz="2000">
                <a:solidFill>
                  <a:schemeClr val="accent3"/>
                </a:solidFill>
              </a:defRPr>
            </a:lvl3pPr>
            <a:lvl4pPr marL="489867" indent="0">
              <a:spcBef>
                <a:spcPts val="0"/>
              </a:spcBef>
              <a:buNone/>
              <a:defRPr sz="2000">
                <a:solidFill>
                  <a:schemeClr val="accent3"/>
                </a:solidFill>
              </a:defRPr>
            </a:lvl4pPr>
            <a:lvl5pPr marL="653156" indent="0">
              <a:spcBef>
                <a:spcPts val="0"/>
              </a:spcBef>
              <a:buNone/>
              <a:defRPr sz="2000">
                <a:solidFill>
                  <a:schemeClr val="accent3"/>
                </a:solidFill>
              </a:defRPr>
            </a:lvl5pPr>
          </a:lstStyle>
          <a:p>
            <a:pPr lvl="0"/>
            <a:r>
              <a:rPr lang="en-US"/>
              <a:t>“Previously, I would never know if employees had their most productive day. The employee wouldn’t even know. Now throughout the day, we both know if they are tracking to have their ‘best day ever’ and we can celebrate it!”</a:t>
            </a:r>
          </a:p>
        </p:txBody>
      </p:sp>
      <p:sp>
        <p:nvSpPr>
          <p:cNvPr id="14" name="Text Placeholder 6"/>
          <p:cNvSpPr>
            <a:spLocks noGrp="1"/>
          </p:cNvSpPr>
          <p:nvPr userDrawn="1">
            <p:ph type="body" sz="quarter" idx="28" hasCustomPrompt="1"/>
          </p:nvPr>
        </p:nvSpPr>
        <p:spPr bwMode="gray">
          <a:xfrm>
            <a:off x="8805798" y="5952207"/>
            <a:ext cx="2770632" cy="215444"/>
          </a:xfrm>
        </p:spPr>
        <p:txBody>
          <a:bodyPr rIns="0" bIns="0" anchor="b" anchorCtr="0"/>
          <a:lstStyle>
            <a:lvl1pPr marL="0" indent="0">
              <a:spcBef>
                <a:spcPts val="0"/>
              </a:spcBef>
              <a:buNone/>
              <a:defRPr sz="700">
                <a:solidFill>
                  <a:schemeClr val="accent3"/>
                </a:solidFill>
              </a:defRPr>
            </a:lvl1pPr>
            <a:lvl2pPr marL="163289" indent="0">
              <a:spcBef>
                <a:spcPts val="0"/>
              </a:spcBef>
              <a:buNone/>
              <a:defRPr sz="714"/>
            </a:lvl2pPr>
            <a:lvl3pPr marL="326578" indent="0">
              <a:spcBef>
                <a:spcPts val="0"/>
              </a:spcBef>
              <a:buNone/>
              <a:defRPr sz="714"/>
            </a:lvl3pPr>
            <a:lvl4pPr marL="489867" indent="0">
              <a:spcBef>
                <a:spcPts val="0"/>
              </a:spcBef>
              <a:buNone/>
              <a:defRPr sz="714"/>
            </a:lvl4pPr>
            <a:lvl5pPr marL="653156" indent="0">
              <a:spcBef>
                <a:spcPts val="0"/>
              </a:spcBef>
              <a:buNone/>
              <a:defRPr sz="714"/>
            </a:lvl5pPr>
          </a:lstStyle>
          <a:p>
            <a:pPr lvl="0"/>
            <a:r>
              <a:rPr lang="en-US"/>
              <a:t>Source: Click to add source. Use a single space after “Source:” and a period at the end of the source. Stretch the box to the left as needed.</a:t>
            </a:r>
          </a:p>
        </p:txBody>
      </p:sp>
      <p:sp>
        <p:nvSpPr>
          <p:cNvPr id="9" name="Text Placeholder 6"/>
          <p:cNvSpPr>
            <a:spLocks noGrp="1"/>
          </p:cNvSpPr>
          <p:nvPr userDrawn="1">
            <p:ph type="body" sz="quarter" idx="30" hasCustomPrompt="1"/>
          </p:nvPr>
        </p:nvSpPr>
        <p:spPr bwMode="gray">
          <a:xfrm>
            <a:off x="612773" y="5952207"/>
            <a:ext cx="3657600" cy="215444"/>
          </a:xfrm>
        </p:spPr>
        <p:txBody>
          <a:bodyPr lIns="0" rIns="0" bIns="0" anchor="b" anchorCtr="0"/>
          <a:lstStyle>
            <a:lvl1pPr marL="115888" indent="-115888">
              <a:spcBef>
                <a:spcPts val="200"/>
              </a:spcBef>
              <a:buClr>
                <a:schemeClr val="accent3"/>
              </a:buClr>
              <a:buFont typeface="+mj-lt"/>
              <a:buAutoNum type="arabicPeriod"/>
              <a:defRPr sz="700">
                <a:solidFill>
                  <a:schemeClr val="accent3"/>
                </a:solidFill>
              </a:defRPr>
            </a:lvl1pPr>
            <a:lvl2pPr marL="163289" indent="0">
              <a:spcBef>
                <a:spcPts val="0"/>
              </a:spcBef>
              <a:buNone/>
              <a:defRPr sz="714"/>
            </a:lvl2pPr>
            <a:lvl3pPr marL="326578" indent="0">
              <a:spcBef>
                <a:spcPts val="0"/>
              </a:spcBef>
              <a:buNone/>
              <a:defRPr sz="714"/>
            </a:lvl3pPr>
            <a:lvl4pPr marL="489867" indent="0">
              <a:spcBef>
                <a:spcPts val="0"/>
              </a:spcBef>
              <a:buNone/>
              <a:defRPr sz="714"/>
            </a:lvl4pPr>
            <a:lvl5pPr marL="653156" indent="0">
              <a:spcBef>
                <a:spcPts val="0"/>
              </a:spcBef>
              <a:buNone/>
              <a:defRPr sz="714"/>
            </a:lvl5pPr>
          </a:lstStyle>
          <a:p>
            <a:pPr lvl="0"/>
            <a:r>
              <a:rPr lang="en-US"/>
              <a:t>Click to add footnote. Numbers appear automatically (no additional space or tab needed). Use a period at the end of each footnote. Stretch the box to the right as needed.</a:t>
            </a:r>
          </a:p>
        </p:txBody>
      </p:sp>
      <p:sp>
        <p:nvSpPr>
          <p:cNvPr id="44" name="Slide Numbe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bg1"/>
                </a:solidFill>
                <a:latin typeface="+mn-lt"/>
                <a:cs typeface="Arial" panose="020B0604020202020204" pitchFamily="34" charset="0"/>
              </a:rPr>
              <a:t>‹#›</a:t>
            </a:fld>
            <a:endParaRPr lang="en-US" sz="1200" b="1">
              <a:solidFill>
                <a:schemeClr val="bg1"/>
              </a:solidFill>
              <a:latin typeface="+mn-lt"/>
            </a:endParaRPr>
          </a:p>
        </p:txBody>
      </p:sp>
      <p:sp>
        <p:nvSpPr>
          <p:cNvPr id="359" name="Slide Number"/>
          <p:cNvSpPr txBox="1"/>
          <p:nvPr userDrawn="1"/>
        </p:nvSpPr>
        <p:spPr bwMode="gray">
          <a:xfrm>
            <a:off x="11129268" y="6242419"/>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accent4"/>
                </a:solidFill>
                <a:latin typeface="+mn-lt"/>
                <a:cs typeface="Arial" panose="020B0604020202020204" pitchFamily="34" charset="0"/>
              </a:rPr>
              <a:t>‹#›</a:t>
            </a:fld>
            <a:endParaRPr lang="en-US" sz="1200" b="1">
              <a:solidFill>
                <a:schemeClr val="accent4"/>
              </a:solidFill>
              <a:latin typeface="+mn-lt"/>
            </a:endParaRPr>
          </a:p>
        </p:txBody>
      </p:sp>
      <p:pic>
        <p:nvPicPr>
          <p:cNvPr id="172" name="Graphic 171">
            <a:extLst>
              <a:ext uri="{FF2B5EF4-FFF2-40B4-BE49-F238E27FC236}">
                <a16:creationId xmlns:a16="http://schemas.microsoft.com/office/drawing/2014/main" id="{3CE2EA42-5FF6-4828-93A7-CB7DA9FCEEA8}"/>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bwMode="gray">
          <a:xfrm>
            <a:off x="609600" y="6273198"/>
            <a:ext cx="1051560" cy="291148"/>
          </a:xfrm>
          <a:prstGeom prst="rect">
            <a:avLst/>
          </a:prstGeom>
        </p:spPr>
      </p:pic>
      <p:pic>
        <p:nvPicPr>
          <p:cNvPr id="170" name="Graphic 169">
            <a:extLst>
              <a:ext uri="{FF2B5EF4-FFF2-40B4-BE49-F238E27FC236}">
                <a16:creationId xmlns:a16="http://schemas.microsoft.com/office/drawing/2014/main" id="{E8F4F1AC-204B-4D3B-A057-F367FD428C9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896065" y="6311465"/>
            <a:ext cx="9281141" cy="101571"/>
          </a:xfrm>
          <a:prstGeom prst="rect">
            <a:avLst/>
          </a:prstGeom>
        </p:spPr>
      </p:pic>
    </p:spTree>
    <p:extLst>
      <p:ext uri="{BB962C8B-B14F-4D97-AF65-F5344CB8AC3E}">
        <p14:creationId xmlns:p14="http://schemas.microsoft.com/office/powerpoint/2010/main" val="2255686459"/>
      </p:ext>
    </p:extLst>
  </p:cSld>
  <p:clrMapOvr>
    <a:masterClrMapping/>
  </p:clrMapOvr>
  <p:extLst>
    <p:ext uri="{DCECCB84-F9BA-43D5-87BE-67443E8EF086}">
      <p15:sldGuideLst xmlns:p15="http://schemas.microsoft.com/office/powerpoint/2012/main">
        <p15:guide id="1" orient="horz" pos="3889">
          <p15:clr>
            <a:srgbClr val="FBAE40"/>
          </p15:clr>
        </p15:guide>
        <p15:guide id="2" orient="horz" pos="479">
          <p15:clr>
            <a:srgbClr val="FBAE40"/>
          </p15:clr>
        </p15:guide>
        <p15:guide id="3" orient="horz" pos="36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477510"/>
      </p:ext>
    </p:extLst>
  </p:cSld>
  <p:clrMapOvr>
    <a:masterClrMapping/>
  </p:clrMapOvr>
  <p:extLst>
    <p:ext uri="{DCECCB84-F9BA-43D5-87BE-67443E8EF086}">
      <p15:sldGuideLst xmlns:p15="http://schemas.microsoft.com/office/powerpoint/2012/main">
        <p15:guide id="1" orient="horz" pos="3889">
          <p15:clr>
            <a:srgbClr val="FBAE40"/>
          </p15:clr>
        </p15:guide>
        <p15:guide id="2" orient="horz" pos="3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gal Caveat">
    <p:spTree>
      <p:nvGrpSpPr>
        <p:cNvPr id="1" name=""/>
        <p:cNvGrpSpPr/>
        <p:nvPr/>
      </p:nvGrpSpPr>
      <p:grpSpPr>
        <a:xfrm>
          <a:off x="0" y="0"/>
          <a:ext cx="0" cy="0"/>
          <a:chOff x="0" y="0"/>
          <a:chExt cx="0" cy="0"/>
        </a:xfrm>
      </p:grpSpPr>
      <p:sp>
        <p:nvSpPr>
          <p:cNvPr id="3" name="Date Placeholder 2" hidden="1"/>
          <p:cNvSpPr>
            <a:spLocks noGrp="1"/>
          </p:cNvSpPr>
          <p:nvPr>
            <p:ph type="dt" sz="half" idx="10"/>
          </p:nvPr>
        </p:nvSpPr>
        <p:spPr bwMode="gray"/>
        <p:txBody>
          <a:bodyPr/>
          <a:lstStyle/>
          <a:p>
            <a:endParaRPr lang="en-US"/>
          </a:p>
        </p:txBody>
      </p:sp>
      <p:sp>
        <p:nvSpPr>
          <p:cNvPr id="4" name="Slide Number Placeholder 3" hidden="1"/>
          <p:cNvSpPr>
            <a:spLocks noGrp="1"/>
          </p:cNvSpPr>
          <p:nvPr>
            <p:ph type="sldNum" sz="quarter" idx="11"/>
          </p:nvPr>
        </p:nvSpPr>
        <p:spPr bwMode="gray"/>
        <p:txBody>
          <a:bodyPr/>
          <a:lstStyle/>
          <a:p>
            <a:fld id="{79A09FC8-B54D-47FB-9034-F0587B1C3005}" type="slidenum">
              <a:rPr lang="en-US" smtClean="0"/>
              <a:pPr/>
              <a:t>‹#›</a:t>
            </a:fld>
            <a:endParaRPr lang="en-US"/>
          </a:p>
        </p:txBody>
      </p:sp>
      <p:grpSp>
        <p:nvGrpSpPr>
          <p:cNvPr id="9" name="Caveat"/>
          <p:cNvGrpSpPr/>
          <p:nvPr userDrawn="1"/>
        </p:nvGrpSpPr>
        <p:grpSpPr bwMode="gray">
          <a:xfrm>
            <a:off x="3041863" y="871768"/>
            <a:ext cx="7937074" cy="5004447"/>
            <a:chOff x="1541904" y="1270121"/>
            <a:chExt cx="7937074" cy="5004447"/>
          </a:xfrm>
        </p:grpSpPr>
        <p:sp>
          <p:nvSpPr>
            <p:cNvPr id="28" name="TextBox 27"/>
            <p:cNvSpPr txBox="1"/>
            <p:nvPr userDrawn="1"/>
          </p:nvSpPr>
          <p:spPr bwMode="gray">
            <a:xfrm>
              <a:off x="1541961" y="1270121"/>
              <a:ext cx="7937017" cy="5004447"/>
            </a:xfrm>
            <a:prstGeom prst="rect">
              <a:avLst/>
            </a:prstGeom>
            <a:noFill/>
          </p:spPr>
          <p:txBody>
            <a:bodyPr wrap="square" lIns="0" tIns="0" rIns="0" bIns="0" rtlCol="0">
              <a:spAutoFit/>
            </a:bodyPr>
            <a:lstStyle/>
            <a:p>
              <a:pPr>
                <a:lnSpc>
                  <a:spcPct val="110000"/>
                </a:lnSpc>
                <a:spcBef>
                  <a:spcPts val="400"/>
                </a:spcBef>
              </a:pPr>
              <a:r>
                <a:rPr lang="en-US" sz="800" b="0" spc="50">
                  <a:solidFill>
                    <a:schemeClr val="accent4"/>
                  </a:solidFill>
                </a:rPr>
                <a:t>LEGAL</a:t>
              </a:r>
              <a:r>
                <a:rPr lang="en-US" sz="800" b="0" spc="50" baseline="0">
                  <a:solidFill>
                    <a:schemeClr val="accent4"/>
                  </a:solidFill>
                </a:rPr>
                <a:t> CAVEAT</a:t>
              </a:r>
              <a:endParaRPr lang="en-US" sz="800" b="0" spc="50">
                <a:solidFill>
                  <a:schemeClr val="accent4"/>
                </a:solidFill>
              </a:endParaRPr>
            </a:p>
            <a:p>
              <a:pPr>
                <a:lnSpc>
                  <a:spcPct val="110000"/>
                </a:lnSpc>
                <a:spcBef>
                  <a:spcPts val="1200"/>
                </a:spcBef>
              </a:pPr>
              <a:r>
                <a:rPr lang="en-US" sz="800">
                  <a:solidFill>
                    <a:schemeClr val="accent4"/>
                  </a:solidFill>
                </a:rPr>
                <a:t>Advisory Board has made efforts to verify the accuracy of the information it provides to members. This report relies on data obtained from many sources, however, and Advisory Board cannot guarantee the accuracy of the information provided or any analysis based thereon. In addition, Advisory Board is not in the business of giving legal, medical, accounting, or other professional advice, and its reports should not be construed as professional advice. In particular, members should not rely on any legal commentary in this report as a basis for action, or assume that any tactics described herein would be permitted by applicable law or appropriate for a given member’s situation. Members are advised to consult with appropriate professionals concerning legal, medical, tax, or accounting issues, before implementing any of these tactics. Neither Advisory Board nor its officers, directors, trustees, employees, and agents shall be liable for any claims, liabilities, or expenses relating to (a) any errors or omissions in this report, whether caused by Advisory Board or any of its employees or agents, or sources or other third parties, (b) any recommendation or graded ranking by Advisory Board, or (c) failure of member and its employees and agents to abide by the terms set forth herein.</a:t>
              </a:r>
            </a:p>
            <a:p>
              <a:pPr>
                <a:lnSpc>
                  <a:spcPct val="110000"/>
                </a:lnSpc>
                <a:spcBef>
                  <a:spcPts val="800"/>
                </a:spcBef>
              </a:pPr>
              <a:r>
                <a:rPr lang="en-US" sz="800">
                  <a:solidFill>
                    <a:schemeClr val="accent4"/>
                  </a:solidFill>
                </a:rPr>
                <a:t>Advisory Board and the “A” logo are registered trademarks of The Advisory Board Company in the United States and other countries. Members are not permitted to use these trademarks, or any other trademark, product name, service name, trade name, and logo of Advisory Board without prior written consent of Advisory Board. All other trademarks, product names, service names, trade names, and logos used within these pages are the property of their respective holders. Use of other company trademarks, product names, service names, trade names, and logos or images of the same does not necessarily constitute (a) an endorsement by such company of Advisory Board and its products and services, or (b) an endorsement of the company or its products or services by Advisory Board. Advisory Board is not affiliated with any such company.</a:t>
              </a:r>
            </a:p>
            <a:p>
              <a:pPr>
                <a:lnSpc>
                  <a:spcPct val="110000"/>
                </a:lnSpc>
                <a:spcBef>
                  <a:spcPts val="1200"/>
                </a:spcBef>
              </a:pPr>
              <a:r>
                <a:rPr lang="en-US" sz="800" b="1">
                  <a:solidFill>
                    <a:schemeClr val="accent4"/>
                  </a:solidFill>
                </a:rPr>
                <a:t>IMPORTANT: Please read the following.</a:t>
              </a:r>
            </a:p>
            <a:p>
              <a:pPr>
                <a:lnSpc>
                  <a:spcPct val="110000"/>
                </a:lnSpc>
                <a:spcBef>
                  <a:spcPts val="400"/>
                </a:spcBef>
              </a:pPr>
              <a:r>
                <a:rPr lang="en-US" sz="800">
                  <a:solidFill>
                    <a:schemeClr val="accent4"/>
                  </a:solidFill>
                </a:rPr>
                <a:t>Advisory Board has prepared this report for the exclusive use of its members. Each member acknowledges and agrees that this report and the information contained herein (collectively, the “Report”) are confidential and proprietary to Advisory Board. By accepting delivery of this Report, each member agrees to abide by the terms as stated herein, including the following:</a:t>
              </a:r>
            </a:p>
            <a:p>
              <a:pPr marL="171450" indent="-171450">
                <a:lnSpc>
                  <a:spcPct val="110000"/>
                </a:lnSpc>
                <a:spcBef>
                  <a:spcPts val="800"/>
                </a:spcBef>
              </a:pPr>
              <a:r>
                <a:rPr lang="en-US" sz="800">
                  <a:solidFill>
                    <a:schemeClr val="accent4"/>
                  </a:solidFill>
                </a:rPr>
                <a:t>1.	Advisory Board owns all right, title, and interest in and to this Report. Except as stated herein, no right, license, permission, or interest of any kind in this Report is intended to be given, transferred to, or acquired by a member. Each member is authorized to use this Report only to the extent expressly authorized herein.</a:t>
              </a:r>
            </a:p>
            <a:p>
              <a:pPr marL="171450" indent="-171450">
                <a:lnSpc>
                  <a:spcPct val="110000"/>
                </a:lnSpc>
                <a:spcBef>
                  <a:spcPts val="800"/>
                </a:spcBef>
              </a:pPr>
              <a:r>
                <a:rPr lang="en-US" sz="800">
                  <a:solidFill>
                    <a:schemeClr val="accent4"/>
                  </a:solidFill>
                </a:rPr>
                <a:t>2.	Each member shall not sell, license, republish, or post online or otherwise this Report, in part or in whole. Each member shall not disseminate or permit the use of, and shall take reasonable precautions to prevent such dissemination or use of, this Report by (a) any of its employees and agents (except as stated below), or (b) any third party.</a:t>
              </a:r>
            </a:p>
            <a:p>
              <a:pPr marL="171450" indent="-171450">
                <a:lnSpc>
                  <a:spcPct val="110000"/>
                </a:lnSpc>
                <a:spcBef>
                  <a:spcPts val="800"/>
                </a:spcBef>
              </a:pPr>
              <a:r>
                <a:rPr lang="en-US" sz="800">
                  <a:solidFill>
                    <a:schemeClr val="accent4"/>
                  </a:solidFill>
                </a:rPr>
                <a:t>3.	Each member may make this Report available solely to those of its employees and agents who (a) are registered for the workshop or membership program of which this Report is a part, (b) require access to this Report in order to learn from the information described herein, and (c) agree not to disclose this Report to other employees or agents or any third party. Each member shall use, and shall ensure that its employees and agents use, this Report for its internal use only. Each member may make a limited number of copies, solely as adequate for use by its employees and agents in accordance with the terms herein.</a:t>
              </a:r>
            </a:p>
            <a:p>
              <a:pPr marL="171450" indent="-171450">
                <a:lnSpc>
                  <a:spcPct val="110000"/>
                </a:lnSpc>
                <a:spcBef>
                  <a:spcPts val="800"/>
                </a:spcBef>
              </a:pPr>
              <a:r>
                <a:rPr lang="en-US" sz="800">
                  <a:solidFill>
                    <a:schemeClr val="accent4"/>
                  </a:solidFill>
                </a:rPr>
                <a:t>4.	Each member shall not remove from this Report any confidential markings, copyright notices, and/or other similar indicia herein.</a:t>
              </a:r>
            </a:p>
            <a:p>
              <a:pPr marL="171450" indent="-171450">
                <a:lnSpc>
                  <a:spcPct val="110000"/>
                </a:lnSpc>
                <a:spcBef>
                  <a:spcPts val="800"/>
                </a:spcBef>
              </a:pPr>
              <a:r>
                <a:rPr lang="en-US" sz="800">
                  <a:solidFill>
                    <a:schemeClr val="accent4"/>
                  </a:solidFill>
                </a:rPr>
                <a:t>5.	Each member is responsible for any breach of its obligations as stated herein by any of its employees or agents.</a:t>
              </a:r>
            </a:p>
            <a:p>
              <a:pPr marL="171450" indent="-171450">
                <a:lnSpc>
                  <a:spcPct val="110000"/>
                </a:lnSpc>
                <a:spcBef>
                  <a:spcPts val="800"/>
                </a:spcBef>
              </a:pPr>
              <a:r>
                <a:rPr lang="en-US" sz="800">
                  <a:solidFill>
                    <a:schemeClr val="accent4"/>
                  </a:solidFill>
                </a:rPr>
                <a:t>6.	If a member is unwilling to abide by any of the foregoing obligations, then such member shall promptly return this Report and all copies thereof to Advisory Board.</a:t>
              </a:r>
            </a:p>
          </p:txBody>
        </p:sp>
        <p:cxnSp>
          <p:nvCxnSpPr>
            <p:cNvPr id="27" name="Straight Connector 26">
              <a:extLst>
                <a:ext uri="{C183D7F6-B498-43B3-948B-1728B52AA6E4}">
                  <adec:decorative xmlns:adec="http://schemas.microsoft.com/office/drawing/2017/decorative" val="1"/>
                </a:ext>
              </a:extLst>
            </p:cNvPr>
            <p:cNvCxnSpPr/>
            <p:nvPr userDrawn="1"/>
          </p:nvCxnSpPr>
          <p:spPr bwMode="gray">
            <a:xfrm>
              <a:off x="1541904" y="1427230"/>
              <a:ext cx="7937074" cy="0"/>
            </a:xfrm>
            <a:prstGeom prst="line">
              <a:avLst/>
            </a:prstGeom>
            <a:ln w="19050">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2" name="Copyright">
            <a:extLst>
              <a:ext uri="{FF2B5EF4-FFF2-40B4-BE49-F238E27FC236}">
                <a16:creationId xmlns:a16="http://schemas.microsoft.com/office/drawing/2014/main" id="{37ECBFDB-F3C1-4D03-9412-AB3FB1618EA0}"/>
              </a:ext>
            </a:extLst>
          </p:cNvPr>
          <p:cNvSpPr txBox="1"/>
          <p:nvPr userDrawn="1"/>
        </p:nvSpPr>
        <p:spPr bwMode="gray">
          <a:xfrm>
            <a:off x="811952" y="6502287"/>
            <a:ext cx="2979100"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accent4"/>
                </a:solidFill>
                <a:latin typeface="+mj-lt"/>
                <a:cs typeface="Times New Roman" panose="02020603050405020304" pitchFamily="18" charset="0"/>
              </a:rPr>
              <a:t>© 2021 Advisory Board • All rights reserved • </a:t>
            </a:r>
            <a:r>
              <a:rPr lang="en-US" sz="700" b="1">
                <a:solidFill>
                  <a:schemeClr val="accent4"/>
                </a:solidFill>
                <a:latin typeface="+mj-lt"/>
                <a:cs typeface="Times New Roman" panose="02020603050405020304" pitchFamily="18" charset="0"/>
              </a:rPr>
              <a:t>advisory.com</a:t>
            </a:r>
          </a:p>
        </p:txBody>
      </p:sp>
      <p:sp>
        <p:nvSpPr>
          <p:cNvPr id="14" name="Slide Number">
            <a:extLst>
              <a:ext uri="{FF2B5EF4-FFF2-40B4-BE49-F238E27FC236}">
                <a16:creationId xmlns:a16="http://schemas.microsoft.com/office/drawing/2014/main" id="{3F095E33-003B-4E8E-853D-99C864317223}"/>
              </a:ext>
            </a:extLst>
          </p:cNvPr>
          <p:cNvSpPr txBox="1"/>
          <p:nvPr userDrawn="1"/>
        </p:nvSpPr>
        <p:spPr bwMode="gray">
          <a:xfrm>
            <a:off x="11127071" y="6261321"/>
            <a:ext cx="453989" cy="18466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0174E5-5A89-4125-921D-F628A3280987}" type="slidenum">
              <a:rPr lang="en-US" sz="1200" smtClean="0">
                <a:solidFill>
                  <a:schemeClr val="accent4"/>
                </a:solidFill>
                <a:latin typeface="+mn-lt"/>
                <a:cs typeface="Arial" panose="020B0604020202020204" pitchFamily="34" charset="0"/>
              </a:rPr>
              <a:t>‹#›</a:t>
            </a:fld>
            <a:endParaRPr lang="en-US" sz="1200" b="1">
              <a:solidFill>
                <a:schemeClr val="accent4"/>
              </a:solidFill>
              <a:latin typeface="+mn-lt"/>
            </a:endParaRPr>
          </a:p>
        </p:txBody>
      </p:sp>
      <p:pic>
        <p:nvPicPr>
          <p:cNvPr id="13" name="Graphic 12">
            <a:extLst>
              <a:ext uri="{FF2B5EF4-FFF2-40B4-BE49-F238E27FC236}">
                <a16:creationId xmlns:a16="http://schemas.microsoft.com/office/drawing/2014/main" id="{93313B97-D662-48C0-819F-7F9EC41248F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gray">
          <a:xfrm>
            <a:off x="811952" y="872894"/>
            <a:ext cx="1600200" cy="443052"/>
          </a:xfrm>
          <a:prstGeom prst="rect">
            <a:avLst/>
          </a:prstGeom>
        </p:spPr>
      </p:pic>
    </p:spTree>
    <p:extLst>
      <p:ext uri="{BB962C8B-B14F-4D97-AF65-F5344CB8AC3E}">
        <p14:creationId xmlns:p14="http://schemas.microsoft.com/office/powerpoint/2010/main" val="3653985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hyperlink" Target="http://www.advisory.com/"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hyperlink" Target="http://www.advisory.com/" TargetMode="External"/><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 name="Date Placeholder" hidden="1"/>
          <p:cNvSpPr>
            <a:spLocks noGrp="1"/>
          </p:cNvSpPr>
          <p:nvPr>
            <p:ph type="dt" sz="half" idx="2"/>
          </p:nvPr>
        </p:nvSpPr>
        <p:spPr bwMode="gray">
          <a:xfrm>
            <a:off x="314295" y="6930388"/>
            <a:ext cx="298480" cy="15389"/>
          </a:xfrm>
          <a:prstGeom prst="rect">
            <a:avLst/>
          </a:prstGeom>
        </p:spPr>
        <p:txBody>
          <a:bodyPr vert="horz" wrap="square" lIns="0" tIns="0" rIns="0" bIns="0" rtlCol="0" anchor="ctr">
            <a:spAutoFit/>
          </a:bodyPr>
          <a:lstStyle>
            <a:lvl1pPr algn="l">
              <a:defRPr sz="100">
                <a:solidFill>
                  <a:schemeClr val="accent3"/>
                </a:solidFill>
              </a:defRPr>
            </a:lvl1pPr>
          </a:lstStyle>
          <a:p>
            <a:endParaRPr lang="en-US"/>
          </a:p>
        </p:txBody>
      </p:sp>
      <p:sp>
        <p:nvSpPr>
          <p:cNvPr id="6" name="Slide Number Placeholder" hidden="1"/>
          <p:cNvSpPr>
            <a:spLocks noGrp="1"/>
          </p:cNvSpPr>
          <p:nvPr>
            <p:ph type="sldNum" sz="quarter" idx="4"/>
          </p:nvPr>
        </p:nvSpPr>
        <p:spPr bwMode="gray">
          <a:xfrm>
            <a:off x="0" y="6930388"/>
            <a:ext cx="215122" cy="15389"/>
          </a:xfrm>
          <a:prstGeom prst="rect">
            <a:avLst/>
          </a:prstGeom>
        </p:spPr>
        <p:txBody>
          <a:bodyPr vert="horz" wrap="square" lIns="0" tIns="0" rIns="0" bIns="0" rtlCol="0" anchor="ctr">
            <a:spAutoFit/>
          </a:bodyPr>
          <a:lstStyle>
            <a:lvl1pPr algn="r">
              <a:defRPr sz="100">
                <a:solidFill>
                  <a:schemeClr val="accent3"/>
                </a:solidFill>
              </a:defRPr>
            </a:lvl1pPr>
          </a:lstStyle>
          <a:p>
            <a:fld id="{79A09FC8-B54D-47FB-9034-F0587B1C3005}" type="slidenum">
              <a:rPr lang="en-US" smtClean="0"/>
              <a:pPr/>
              <a:t>‹#›</a:t>
            </a:fld>
            <a:endParaRPr lang="en-US"/>
          </a:p>
        </p:txBody>
      </p:sp>
      <p:sp>
        <p:nvSpPr>
          <p:cNvPr id="3" name="Text Placeholder"/>
          <p:cNvSpPr>
            <a:spLocks noGrp="1"/>
          </p:cNvSpPr>
          <p:nvPr>
            <p:ph type="body" idx="1"/>
          </p:nvPr>
        </p:nvSpPr>
        <p:spPr bwMode="gray">
          <a:xfrm>
            <a:off x="4495800" y="2587500"/>
            <a:ext cx="3200400" cy="269304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bwMode="gray">
          <a:xfrm>
            <a:off x="609600" y="477639"/>
            <a:ext cx="10969625" cy="540917"/>
          </a:xfrm>
          <a:prstGeom prst="rect">
            <a:avLst/>
          </a:prstGeom>
        </p:spPr>
        <p:txBody>
          <a:bodyPr vert="horz" wrap="square" lIns="0" tIns="0" rIns="0" bIns="0" rtlCol="0" anchor="t" anchorCtr="0">
            <a:spAutoFit/>
          </a:bodyPr>
          <a:lstStyle/>
          <a:p>
            <a:r>
              <a:rPr lang="en-US"/>
              <a:t>Slide title, Times New Roman 38pt, sentence case</a:t>
            </a:r>
          </a:p>
        </p:txBody>
      </p:sp>
      <p:sp>
        <p:nvSpPr>
          <p:cNvPr id="13" name="Copyright">
            <a:extLst>
              <a:ext uri="{FF2B5EF4-FFF2-40B4-BE49-F238E27FC236}">
                <a16:creationId xmlns:a16="http://schemas.microsoft.com/office/drawing/2014/main" id="{922C3CC6-5ECE-4DDF-BE6B-03B9F31A0C19}"/>
              </a:ext>
            </a:extLst>
          </p:cNvPr>
          <p:cNvSpPr txBox="1"/>
          <p:nvPr userDrawn="1"/>
        </p:nvSpPr>
        <p:spPr bwMode="gray">
          <a:xfrm>
            <a:off x="1896065" y="6502287"/>
            <a:ext cx="2979100"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accent4"/>
                </a:solidFill>
                <a:latin typeface="+mj-lt"/>
                <a:cs typeface="Times New Roman" panose="02020603050405020304" pitchFamily="18" charset="0"/>
              </a:rPr>
              <a:t>© 2021 Advisory Board • All rights reserved • </a:t>
            </a:r>
            <a:r>
              <a:rPr lang="en-US" sz="700" b="1">
                <a:solidFill>
                  <a:schemeClr val="accent4"/>
                </a:solidFill>
                <a:latin typeface="+mj-lt"/>
                <a:cs typeface="Times New Roman" panose="02020603050405020304" pitchFamily="18" charset="0"/>
              </a:rPr>
              <a:t>advisory.com</a:t>
            </a:r>
          </a:p>
        </p:txBody>
      </p:sp>
      <p:sp>
        <p:nvSpPr>
          <p:cNvPr id="14" name="Copyright">
            <a:hlinkClick r:id="rId13"/>
            <a:extLst>
              <a:ext uri="{FF2B5EF4-FFF2-40B4-BE49-F238E27FC236}">
                <a16:creationId xmlns:a16="http://schemas.microsoft.com/office/drawing/2014/main" id="{0A3C3AD7-17B5-4957-96AB-42FFE43EC907}"/>
              </a:ext>
            </a:extLst>
          </p:cNvPr>
          <p:cNvSpPr txBox="1"/>
          <p:nvPr userDrawn="1"/>
        </p:nvSpPr>
        <p:spPr bwMode="gray">
          <a:xfrm>
            <a:off x="10129929" y="6502287"/>
            <a:ext cx="1455646"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accent4"/>
                </a:solidFill>
                <a:latin typeface="+mj-lt"/>
                <a:cs typeface="Times New Roman" panose="02020603050405020304" pitchFamily="18" charset="0"/>
              </a:rPr>
              <a:t>Advisory Board interviews and analysis.</a:t>
            </a:r>
            <a:endParaRPr lang="en-US" sz="700" b="1">
              <a:solidFill>
                <a:schemeClr val="accent4"/>
              </a:solidFill>
              <a:latin typeface="+mj-lt"/>
              <a:cs typeface="Times New Roman" panose="02020603050405020304" pitchFamily="18" charset="0"/>
            </a:endParaRPr>
          </a:p>
        </p:txBody>
      </p:sp>
    </p:spTree>
    <p:extLst>
      <p:ext uri="{BB962C8B-B14F-4D97-AF65-F5344CB8AC3E}">
        <p14:creationId xmlns:p14="http://schemas.microsoft.com/office/powerpoint/2010/main" val="38293103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fontAlgn="ctr" latinLnBrk="0" hangingPunct="1">
        <a:lnSpc>
          <a:spcPct val="90000"/>
        </a:lnSpc>
        <a:spcBef>
          <a:spcPct val="0"/>
        </a:spcBef>
        <a:buNone/>
        <a:defRPr sz="3800" kern="1200">
          <a:solidFill>
            <a:schemeClr val="accent5"/>
          </a:solidFill>
          <a:latin typeface="+mj-lt"/>
          <a:ea typeface="+mj-ea"/>
          <a:cs typeface="Times New Roman" panose="02020603050405020304" pitchFamily="18" charset="0"/>
        </a:defRPr>
      </a:lvl1pPr>
    </p:titleStyle>
    <p:body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fontAlgn="ctr" latinLnBrk="0" hangingPunct="1">
        <a:defRPr sz="1400" kern="1200">
          <a:solidFill>
            <a:schemeClr val="tx1"/>
          </a:solidFill>
          <a:latin typeface="+mn-lt"/>
          <a:ea typeface="+mn-ea"/>
          <a:cs typeface="+mn-cs"/>
        </a:defRPr>
      </a:lvl1pPr>
      <a:lvl2pPr marL="457200" algn="l" defTabSz="914400" rtl="0" eaLnBrk="1" fontAlgn="ctr" latinLnBrk="0" hangingPunct="1">
        <a:defRPr sz="1400" kern="1200">
          <a:solidFill>
            <a:schemeClr val="tx1"/>
          </a:solidFill>
          <a:latin typeface="+mn-lt"/>
          <a:ea typeface="+mn-ea"/>
          <a:cs typeface="+mn-cs"/>
        </a:defRPr>
      </a:lvl2pPr>
      <a:lvl3pPr marL="914400" algn="l" defTabSz="914400" rtl="0" eaLnBrk="1" fontAlgn="ctr" latinLnBrk="0" hangingPunct="1">
        <a:defRPr sz="1400" kern="1200">
          <a:solidFill>
            <a:schemeClr val="tx1"/>
          </a:solidFill>
          <a:latin typeface="+mn-lt"/>
          <a:ea typeface="+mn-ea"/>
          <a:cs typeface="+mn-cs"/>
        </a:defRPr>
      </a:lvl3pPr>
      <a:lvl4pPr marL="1371600" algn="l" defTabSz="914400" rtl="0" eaLnBrk="1" fontAlgn="ctr" latinLnBrk="0" hangingPunct="1">
        <a:defRPr sz="1400" kern="1200">
          <a:solidFill>
            <a:schemeClr val="tx1"/>
          </a:solidFill>
          <a:latin typeface="+mn-lt"/>
          <a:ea typeface="+mn-ea"/>
          <a:cs typeface="+mn-cs"/>
        </a:defRPr>
      </a:lvl4pPr>
      <a:lvl5pPr marL="1828800" algn="l" defTabSz="914400" rtl="0" eaLnBrk="1" fontAlgn="ctr" latinLnBrk="0" hangingPunct="1">
        <a:defRPr sz="1400" kern="1200">
          <a:solidFill>
            <a:schemeClr val="tx1"/>
          </a:solidFill>
          <a:latin typeface="+mn-lt"/>
          <a:ea typeface="+mn-ea"/>
          <a:cs typeface="+mn-cs"/>
        </a:defRPr>
      </a:lvl5pPr>
      <a:lvl6pPr marL="2286000" algn="l" defTabSz="914400" rtl="0" eaLnBrk="1" fontAlgn="ctr" latinLnBrk="0" hangingPunct="1">
        <a:defRPr sz="1400" kern="1200">
          <a:solidFill>
            <a:schemeClr val="tx1"/>
          </a:solidFill>
          <a:latin typeface="+mn-lt"/>
          <a:ea typeface="+mn-ea"/>
          <a:cs typeface="+mn-cs"/>
        </a:defRPr>
      </a:lvl6pPr>
      <a:lvl7pPr marL="2743200" algn="l" defTabSz="914400" rtl="0" eaLnBrk="1" fontAlgn="ctr" latinLnBrk="0" hangingPunct="1">
        <a:defRPr sz="1400" kern="1200">
          <a:solidFill>
            <a:schemeClr val="tx1"/>
          </a:solidFill>
          <a:latin typeface="+mn-lt"/>
          <a:ea typeface="+mn-ea"/>
          <a:cs typeface="+mn-cs"/>
        </a:defRPr>
      </a:lvl7pPr>
      <a:lvl8pPr marL="3200400" algn="l" defTabSz="914400" rtl="0" eaLnBrk="1" fontAlgn="ctr" latinLnBrk="0" hangingPunct="1">
        <a:defRPr sz="1400" kern="1200">
          <a:solidFill>
            <a:schemeClr val="tx1"/>
          </a:solidFill>
          <a:latin typeface="+mn-lt"/>
          <a:ea typeface="+mn-ea"/>
          <a:cs typeface="+mn-cs"/>
        </a:defRPr>
      </a:lvl8pPr>
      <a:lvl9pPr marL="3657600" algn="l" defTabSz="914400" rtl="0" eaLnBrk="1" fontAlgn="ctr"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C35EA4"/>
          </p15:clr>
        </p15:guide>
        <p15:guide id="2" pos="729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 name="Date Placeholder" hidden="1"/>
          <p:cNvSpPr>
            <a:spLocks noGrp="1"/>
          </p:cNvSpPr>
          <p:nvPr>
            <p:ph type="dt" sz="half" idx="2"/>
          </p:nvPr>
        </p:nvSpPr>
        <p:spPr bwMode="gray">
          <a:xfrm>
            <a:off x="314295" y="6930388"/>
            <a:ext cx="298480" cy="15389"/>
          </a:xfrm>
          <a:prstGeom prst="rect">
            <a:avLst/>
          </a:prstGeom>
        </p:spPr>
        <p:txBody>
          <a:bodyPr vert="horz" wrap="square" lIns="0" tIns="0" rIns="0" bIns="0" rtlCol="0" anchor="ctr">
            <a:spAutoFit/>
          </a:bodyPr>
          <a:lstStyle>
            <a:lvl1pPr algn="l">
              <a:defRPr sz="100">
                <a:solidFill>
                  <a:schemeClr val="accent3"/>
                </a:solidFill>
              </a:defRPr>
            </a:lvl1pPr>
          </a:lstStyle>
          <a:p>
            <a:endParaRPr lang="en-US"/>
          </a:p>
        </p:txBody>
      </p:sp>
      <p:sp>
        <p:nvSpPr>
          <p:cNvPr id="6" name="Slide Number Placeholder" hidden="1"/>
          <p:cNvSpPr>
            <a:spLocks noGrp="1"/>
          </p:cNvSpPr>
          <p:nvPr>
            <p:ph type="sldNum" sz="quarter" idx="4"/>
          </p:nvPr>
        </p:nvSpPr>
        <p:spPr bwMode="gray">
          <a:xfrm>
            <a:off x="0" y="6930388"/>
            <a:ext cx="215122" cy="15389"/>
          </a:xfrm>
          <a:prstGeom prst="rect">
            <a:avLst/>
          </a:prstGeom>
        </p:spPr>
        <p:txBody>
          <a:bodyPr vert="horz" wrap="square" lIns="0" tIns="0" rIns="0" bIns="0" rtlCol="0" anchor="ctr">
            <a:spAutoFit/>
          </a:bodyPr>
          <a:lstStyle>
            <a:lvl1pPr algn="r">
              <a:defRPr sz="100">
                <a:solidFill>
                  <a:schemeClr val="accent3"/>
                </a:solidFill>
              </a:defRPr>
            </a:lvl1pPr>
          </a:lstStyle>
          <a:p>
            <a:fld id="{79A09FC8-B54D-47FB-9034-F0587B1C3005}" type="slidenum">
              <a:rPr lang="en-US" smtClean="0"/>
              <a:pPr/>
              <a:t>‹#›</a:t>
            </a:fld>
            <a:endParaRPr lang="en-US"/>
          </a:p>
        </p:txBody>
      </p:sp>
      <p:sp>
        <p:nvSpPr>
          <p:cNvPr id="3" name="Text Placeholder"/>
          <p:cNvSpPr>
            <a:spLocks noGrp="1"/>
          </p:cNvSpPr>
          <p:nvPr>
            <p:ph type="body" idx="1"/>
          </p:nvPr>
        </p:nvSpPr>
        <p:spPr bwMode="gray">
          <a:xfrm>
            <a:off x="4495800" y="2587500"/>
            <a:ext cx="3200400" cy="269304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bwMode="gray">
          <a:xfrm>
            <a:off x="609600" y="477639"/>
            <a:ext cx="10969625" cy="540917"/>
          </a:xfrm>
          <a:prstGeom prst="rect">
            <a:avLst/>
          </a:prstGeom>
        </p:spPr>
        <p:txBody>
          <a:bodyPr vert="horz" wrap="square" lIns="0" tIns="0" rIns="0" bIns="0" rtlCol="0" anchor="t" anchorCtr="0">
            <a:spAutoFit/>
          </a:bodyPr>
          <a:lstStyle/>
          <a:p>
            <a:r>
              <a:rPr lang="en-US"/>
              <a:t>Slide title, Times New Roman 38pt, sentence case</a:t>
            </a:r>
          </a:p>
        </p:txBody>
      </p:sp>
      <p:sp>
        <p:nvSpPr>
          <p:cNvPr id="13" name="Copyright">
            <a:extLst>
              <a:ext uri="{FF2B5EF4-FFF2-40B4-BE49-F238E27FC236}">
                <a16:creationId xmlns:a16="http://schemas.microsoft.com/office/drawing/2014/main" id="{922C3CC6-5ECE-4DDF-BE6B-03B9F31A0C19}"/>
              </a:ext>
            </a:extLst>
          </p:cNvPr>
          <p:cNvSpPr txBox="1"/>
          <p:nvPr userDrawn="1"/>
        </p:nvSpPr>
        <p:spPr bwMode="gray">
          <a:xfrm>
            <a:off x="1896065" y="6502287"/>
            <a:ext cx="2979100"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accent4"/>
                </a:solidFill>
                <a:latin typeface="+mj-lt"/>
                <a:cs typeface="Times New Roman" panose="02020603050405020304" pitchFamily="18" charset="0"/>
              </a:rPr>
              <a:t>© 2020 Advisory Board • All rights reserved • </a:t>
            </a:r>
            <a:r>
              <a:rPr lang="en-US" sz="700" b="1">
                <a:solidFill>
                  <a:schemeClr val="accent4"/>
                </a:solidFill>
                <a:latin typeface="+mj-lt"/>
                <a:cs typeface="Times New Roman" panose="02020603050405020304" pitchFamily="18" charset="0"/>
              </a:rPr>
              <a:t>advisory.com</a:t>
            </a:r>
          </a:p>
        </p:txBody>
      </p:sp>
      <p:sp>
        <p:nvSpPr>
          <p:cNvPr id="14" name="Copyright">
            <a:hlinkClick r:id="rId3"/>
            <a:extLst>
              <a:ext uri="{FF2B5EF4-FFF2-40B4-BE49-F238E27FC236}">
                <a16:creationId xmlns:a16="http://schemas.microsoft.com/office/drawing/2014/main" id="{0A3C3AD7-17B5-4957-96AB-42FFE43EC907}"/>
              </a:ext>
            </a:extLst>
          </p:cNvPr>
          <p:cNvSpPr txBox="1"/>
          <p:nvPr userDrawn="1"/>
        </p:nvSpPr>
        <p:spPr bwMode="gray">
          <a:xfrm>
            <a:off x="10129929" y="6502287"/>
            <a:ext cx="1455646"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accent4"/>
                </a:solidFill>
                <a:latin typeface="+mj-lt"/>
                <a:cs typeface="Times New Roman" panose="02020603050405020304" pitchFamily="18" charset="0"/>
              </a:rPr>
              <a:t>Advisory Board interviews and analysis.</a:t>
            </a:r>
            <a:endParaRPr lang="en-US" sz="700" b="1">
              <a:solidFill>
                <a:schemeClr val="accent4"/>
              </a:solidFill>
              <a:latin typeface="+mj-lt"/>
              <a:cs typeface="Times New Roman" panose="02020603050405020304" pitchFamily="18" charset="0"/>
            </a:endParaRPr>
          </a:p>
        </p:txBody>
      </p:sp>
    </p:spTree>
    <p:extLst>
      <p:ext uri="{BB962C8B-B14F-4D97-AF65-F5344CB8AC3E}">
        <p14:creationId xmlns:p14="http://schemas.microsoft.com/office/powerpoint/2010/main" val="1442943560"/>
      </p:ext>
    </p:extLst>
  </p:cSld>
  <p:clrMap bg1="lt1" tx1="dk1" bg2="lt2" tx2="dk2" accent1="accent1" accent2="accent2" accent3="accent3" accent4="accent4" accent5="accent5" accent6="accent6" hlink="hlink" folHlink="folHlink"/>
  <p:sldLayoutIdLst>
    <p:sldLayoutId id="2147483673" r:id="rId1"/>
  </p:sldLayoutIdLst>
  <p:hf sldNum="0" hdr="0" dt="0"/>
  <p:txStyles>
    <p:titleStyle>
      <a:lvl1pPr algn="l" defTabSz="914400" rtl="0" eaLnBrk="1" fontAlgn="ctr" latinLnBrk="0" hangingPunct="1">
        <a:lnSpc>
          <a:spcPct val="90000"/>
        </a:lnSpc>
        <a:spcBef>
          <a:spcPct val="0"/>
        </a:spcBef>
        <a:buNone/>
        <a:defRPr sz="3800" kern="1200">
          <a:solidFill>
            <a:schemeClr val="accent5"/>
          </a:solidFill>
          <a:latin typeface="+mj-lt"/>
          <a:ea typeface="+mj-ea"/>
          <a:cs typeface="Times New Roman" panose="02020603050405020304" pitchFamily="18" charset="0"/>
        </a:defRPr>
      </a:lvl1pPr>
    </p:titleStyle>
    <p:body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fontAlgn="ctr" latinLnBrk="0" hangingPunct="1">
        <a:defRPr sz="1400" kern="1200">
          <a:solidFill>
            <a:schemeClr val="tx1"/>
          </a:solidFill>
          <a:latin typeface="+mn-lt"/>
          <a:ea typeface="+mn-ea"/>
          <a:cs typeface="+mn-cs"/>
        </a:defRPr>
      </a:lvl1pPr>
      <a:lvl2pPr marL="457200" algn="l" defTabSz="914400" rtl="0" eaLnBrk="1" fontAlgn="ctr" latinLnBrk="0" hangingPunct="1">
        <a:defRPr sz="1400" kern="1200">
          <a:solidFill>
            <a:schemeClr val="tx1"/>
          </a:solidFill>
          <a:latin typeface="+mn-lt"/>
          <a:ea typeface="+mn-ea"/>
          <a:cs typeface="+mn-cs"/>
        </a:defRPr>
      </a:lvl2pPr>
      <a:lvl3pPr marL="914400" algn="l" defTabSz="914400" rtl="0" eaLnBrk="1" fontAlgn="ctr" latinLnBrk="0" hangingPunct="1">
        <a:defRPr sz="1400" kern="1200">
          <a:solidFill>
            <a:schemeClr val="tx1"/>
          </a:solidFill>
          <a:latin typeface="+mn-lt"/>
          <a:ea typeface="+mn-ea"/>
          <a:cs typeface="+mn-cs"/>
        </a:defRPr>
      </a:lvl3pPr>
      <a:lvl4pPr marL="1371600" algn="l" defTabSz="914400" rtl="0" eaLnBrk="1" fontAlgn="ctr" latinLnBrk="0" hangingPunct="1">
        <a:defRPr sz="1400" kern="1200">
          <a:solidFill>
            <a:schemeClr val="tx1"/>
          </a:solidFill>
          <a:latin typeface="+mn-lt"/>
          <a:ea typeface="+mn-ea"/>
          <a:cs typeface="+mn-cs"/>
        </a:defRPr>
      </a:lvl4pPr>
      <a:lvl5pPr marL="1828800" algn="l" defTabSz="914400" rtl="0" eaLnBrk="1" fontAlgn="ctr" latinLnBrk="0" hangingPunct="1">
        <a:defRPr sz="1400" kern="1200">
          <a:solidFill>
            <a:schemeClr val="tx1"/>
          </a:solidFill>
          <a:latin typeface="+mn-lt"/>
          <a:ea typeface="+mn-ea"/>
          <a:cs typeface="+mn-cs"/>
        </a:defRPr>
      </a:lvl5pPr>
      <a:lvl6pPr marL="2286000" algn="l" defTabSz="914400" rtl="0" eaLnBrk="1" fontAlgn="ctr" latinLnBrk="0" hangingPunct="1">
        <a:defRPr sz="1400" kern="1200">
          <a:solidFill>
            <a:schemeClr val="tx1"/>
          </a:solidFill>
          <a:latin typeface="+mn-lt"/>
          <a:ea typeface="+mn-ea"/>
          <a:cs typeface="+mn-cs"/>
        </a:defRPr>
      </a:lvl6pPr>
      <a:lvl7pPr marL="2743200" algn="l" defTabSz="914400" rtl="0" eaLnBrk="1" fontAlgn="ctr" latinLnBrk="0" hangingPunct="1">
        <a:defRPr sz="1400" kern="1200">
          <a:solidFill>
            <a:schemeClr val="tx1"/>
          </a:solidFill>
          <a:latin typeface="+mn-lt"/>
          <a:ea typeface="+mn-ea"/>
          <a:cs typeface="+mn-cs"/>
        </a:defRPr>
      </a:lvl7pPr>
      <a:lvl8pPr marL="3200400" algn="l" defTabSz="914400" rtl="0" eaLnBrk="1" fontAlgn="ctr" latinLnBrk="0" hangingPunct="1">
        <a:defRPr sz="1400" kern="1200">
          <a:solidFill>
            <a:schemeClr val="tx1"/>
          </a:solidFill>
          <a:latin typeface="+mn-lt"/>
          <a:ea typeface="+mn-ea"/>
          <a:cs typeface="+mn-cs"/>
        </a:defRPr>
      </a:lvl8pPr>
      <a:lvl9pPr marL="3657600" algn="l" defTabSz="914400" rtl="0" eaLnBrk="1" fontAlgn="ctr"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C35EA4"/>
          </p15:clr>
        </p15:guide>
        <p15:guide id="2" pos="729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www.pewresearch.org/internet/2020/04/30/53-of-americans-say-the-internet-has-been-essential-during-the-covid-19-outbreak/" TargetMode="External"/><Relationship Id="rId7"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www.washingtonpost.com/technology/2021/02/09/lifeline-broadband-internet-fcc-coronavirus/" TargetMode="External"/><Relationship Id="rId5" Type="http://schemas.openxmlformats.org/officeDocument/2006/relationships/hyperlink" Target="https://www.highspeedinternet.com/resources/how-much-should-i-be-paying-for-high-speed-internet-resource" TargetMode="External"/><Relationship Id="rId4" Type="http://schemas.openxmlformats.org/officeDocument/2006/relationships/hyperlink" Target="https://money.cnn.com/2012/04/16/pf/cell-phone-bill.moneymag/index.ht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whitehouse.gov/briefing-room/statements-releases/2022/05/09/fact-sheet-president-biden-and-vice-president-harris-reduce-high-speed-internet-costs-for-millions-of-americans/"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hyperlink" Target="https://www.usda.gov/media/press-releases/2022/10/27/biden-harris-administration-provides-759-million-bring-high-speed"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nature.com/articles/s41746-021-00413-8"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hyperlink" Target="https://literacy.ala.org/digital-literacy/"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30.png"/><Relationship Id="rId4" Type="http://schemas.openxmlformats.org/officeDocument/2006/relationships/hyperlink" Target="https://c19hcc.org/telehealth/physician-survey-analysis/"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researchgate.net/figure/Components-of-Digital-Literacy-The-eight-components-include-creativity-critical_fig1_328513105"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31.png"/><Relationship Id="rId4" Type="http://schemas.openxmlformats.org/officeDocument/2006/relationships/hyperlink" Target="https://nnlm.gov/all-of-us/resources/digitalhealthliteracy"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cis.org/Report/673-Million-United-States-Spoke-Foreign-Language-Home-2018"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hyperlink" Target="https://www.pewresearch.org/fact-tank/2019/08/20/smartphones-help-blacks-hispanics-bridge-some-but-not-all-digital-gaps-with-whites/"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www.theverge.com/21277936/telehealth-english-systems-disparities-interpreters-online-doctor-appointments" TargetMode="External"/><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www.wavy.com/news/health/coronavirus/translation-on-virginia-department-of-healths-website-told-spanish-readers-they-didnt-need-the-covid-19-vaccine/"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5.xml"/><Relationship Id="rId5" Type="http://schemas.openxmlformats.org/officeDocument/2006/relationships/tags" Target="../tags/tag5.xml"/><Relationship Id="rId4" Type="http://schemas.openxmlformats.org/officeDocument/2006/relationships/tags" Target="../tags/tag4.xml"/></Relationships>
</file>

<file path=ppt/slides/_rels/slide2.xml.rels><?xml version="1.0" encoding="UTF-8" standalone="yes"?>
<Relationships xmlns="http://schemas.openxmlformats.org/package/2006/relationships"><Relationship Id="rId3" Type="http://schemas.openxmlformats.org/officeDocument/2006/relationships/hyperlink" Target="https://www.nature.com/articles/s41746-021-00413-8"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docs.google.com/forms/d/e/1FAIpQLScn2jL1kHThziitkft7xcVt01vaUE7BoCGZtc_Z6K2fdA9dMA/viewform"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hyperlink" Target="https://assessment.digitalliteracyassessment.org/basic-computer-skills-1"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hyperlink" Target="https://www.advisory.com/Topics/Digital-Health/2021/03/Digital-inequity"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hyperlink" Target="https://www.businesswire.com/news/home/20200921005074/en/Change-Healthcare-HCEG-Research-COVID-19-Reshuffles-Healthcare-Executives%E2%80%99-Priorities"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hyperlink" Target="https://www.businessgrouphealth.org/en/who-we-are/newsroom/press-releases/large-us-employers-accelerating-adoption-of-virtual-care-mental-health-services-for-2021" TargetMode="External"/><Relationship Id="rId5" Type="http://schemas.openxmlformats.org/officeDocument/2006/relationships/hyperlink" Target="https://www.bdo.com/BDO/media/CFO-Outlook-Survey/IND_2021_HC_CFO-Survey_WEB.pdf" TargetMode="External"/><Relationship Id="rId4" Type="http://schemas.openxmlformats.org/officeDocument/2006/relationships/hyperlink" Target="https://www.advisory.com/Topics/Strategic-and-Business-Planning/2021/03/2021-Strategic-Planner-Survey-Result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hyperlink" Target="https://www.advisory.com/en/topics/consumerism/2020/06/covid19-consumer-behavior-and-preferences" TargetMode="External"/><Relationship Id="rId5" Type="http://schemas.openxmlformats.org/officeDocument/2006/relationships/hyperlink" Target="https://jamanetwork.com/journals/jamanetworkopen/fullarticle/2771185" TargetMode="Externa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hyperlink" Target="https://www.nature.com/articles/s41746-021-00413-8"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hyperlink" Target="https://www.cityandstateny.com/articles/opinion/opinion/why-new-york-city-needs-universal-internet-access.html"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hyperlink" Target="https://www.ncbi.nlm.nih.gov/pmc/articles/PMC7480260/" TargetMode="External"/><Relationship Id="rId5" Type="http://schemas.openxmlformats.org/officeDocument/2006/relationships/hyperlink" Target="https://www.reuters.com/article/us-usa-tech-broadband-trfn/u-s-cities-back-broadband-projects-as-covid-19-exposes-digital-divide-idUSKBN27M1RY" TargetMode="External"/><Relationship Id="rId4" Type="http://schemas.openxmlformats.org/officeDocument/2006/relationships/hyperlink" Target="https://m.metrotimes.com/detroit/detroits-digital-divide-is-leaving-nearly-half-of-the-motor-city-offline/Content?oid=7625861&amp;showFullText=tru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AE355BA-EC71-4DC5-93D2-A9705E681437}"/>
              </a:ext>
            </a:extLst>
          </p:cNvPr>
          <p:cNvSpPr>
            <a:spLocks noGrp="1"/>
          </p:cNvSpPr>
          <p:nvPr>
            <p:ph type="body" sz="quarter" idx="20"/>
          </p:nvPr>
        </p:nvSpPr>
        <p:spPr>
          <a:xfrm>
            <a:off x="1564005" y="4542724"/>
            <a:ext cx="9063990" cy="369332"/>
          </a:xfrm>
        </p:spPr>
        <p:txBody>
          <a:bodyPr/>
          <a:lstStyle/>
          <a:p>
            <a:r>
              <a:rPr lang="en-US" dirty="0"/>
              <a:t>Your guide to understanding digital disparities</a:t>
            </a:r>
          </a:p>
        </p:txBody>
      </p:sp>
      <p:sp>
        <p:nvSpPr>
          <p:cNvPr id="8" name="Title 7">
            <a:extLst>
              <a:ext uri="{FF2B5EF4-FFF2-40B4-BE49-F238E27FC236}">
                <a16:creationId xmlns:a16="http://schemas.microsoft.com/office/drawing/2014/main" id="{C822C038-757D-4D3B-8046-781E74B86A3A}"/>
              </a:ext>
            </a:extLst>
          </p:cNvPr>
          <p:cNvSpPr>
            <a:spLocks noGrp="1"/>
          </p:cNvSpPr>
          <p:nvPr>
            <p:ph type="title"/>
          </p:nvPr>
        </p:nvSpPr>
        <p:spPr>
          <a:xfrm>
            <a:off x="1564005" y="3043557"/>
            <a:ext cx="9063990" cy="854080"/>
          </a:xfrm>
        </p:spPr>
        <p:txBody>
          <a:bodyPr/>
          <a:lstStyle/>
          <a:p>
            <a:r>
              <a:rPr lang="en-US" dirty="0"/>
              <a:t>Digital inequity 101</a:t>
            </a:r>
          </a:p>
        </p:txBody>
      </p:sp>
      <p:sp>
        <p:nvSpPr>
          <p:cNvPr id="5" name="TextBox 4">
            <a:extLst>
              <a:ext uri="{FF2B5EF4-FFF2-40B4-BE49-F238E27FC236}">
                <a16:creationId xmlns:a16="http://schemas.microsoft.com/office/drawing/2014/main" id="{A9F51E2F-958A-4F9D-853F-95E07A455FFC}"/>
              </a:ext>
            </a:extLst>
          </p:cNvPr>
          <p:cNvSpPr txBox="1"/>
          <p:nvPr/>
        </p:nvSpPr>
        <p:spPr bwMode="gray">
          <a:xfrm>
            <a:off x="609600" y="5647296"/>
            <a:ext cx="4380836" cy="1210704"/>
          </a:xfrm>
          <a:prstGeom prst="rect">
            <a:avLst/>
          </a:prstGeom>
          <a:noFill/>
        </p:spPr>
        <p:txBody>
          <a:bodyPr wrap="square" lIns="65314" rIns="65314" rtlCol="0">
            <a:noAutofit/>
          </a:bodyPr>
          <a:lstStyle/>
          <a:p>
            <a:pPr>
              <a:spcBef>
                <a:spcPts val="714"/>
              </a:spcBef>
            </a:pPr>
            <a:r>
              <a:rPr lang="en-US" sz="2000" b="1" dirty="0">
                <a:solidFill>
                  <a:schemeClr val="accent6"/>
                </a:solidFill>
              </a:rPr>
              <a:t>Institution name</a:t>
            </a:r>
          </a:p>
          <a:p>
            <a:pPr>
              <a:spcBef>
                <a:spcPts val="714"/>
              </a:spcBef>
            </a:pPr>
            <a:r>
              <a:rPr lang="en-US" sz="1714" dirty="0">
                <a:solidFill>
                  <a:schemeClr val="accent6"/>
                </a:solidFill>
              </a:rPr>
              <a:t>Presenter name, title</a:t>
            </a:r>
            <a:br>
              <a:rPr lang="en-US" sz="1714" dirty="0">
                <a:solidFill>
                  <a:schemeClr val="accent6"/>
                </a:solidFill>
              </a:rPr>
            </a:br>
            <a:r>
              <a:rPr lang="en-US" sz="1714" dirty="0">
                <a:solidFill>
                  <a:schemeClr val="accent6"/>
                </a:solidFill>
              </a:rPr>
              <a:t>E-mail address and phone number</a:t>
            </a:r>
          </a:p>
        </p:txBody>
      </p:sp>
      <p:sp>
        <p:nvSpPr>
          <p:cNvPr id="6" name="Line Callout 1 5">
            <a:extLst>
              <a:ext uri="{FF2B5EF4-FFF2-40B4-BE49-F238E27FC236}">
                <a16:creationId xmlns:a16="http://schemas.microsoft.com/office/drawing/2014/main" id="{C7AF620D-6C77-431D-9D75-ACCACD670F72}"/>
              </a:ext>
            </a:extLst>
          </p:cNvPr>
          <p:cNvSpPr/>
          <p:nvPr/>
        </p:nvSpPr>
        <p:spPr bwMode="gray">
          <a:xfrm>
            <a:off x="4658786" y="5148710"/>
            <a:ext cx="2874427" cy="1445301"/>
          </a:xfrm>
          <a:prstGeom prst="borderCallout1">
            <a:avLst>
              <a:gd name="adj1" fmla="val 58547"/>
              <a:gd name="adj2" fmla="val 1955"/>
              <a:gd name="adj3" fmla="val 58555"/>
              <a:gd name="adj4" fmla="val -15648"/>
            </a:avLst>
          </a:prstGeom>
          <a:solidFill>
            <a:srgbClr val="00B0F0"/>
          </a:solidFill>
          <a:ln w="12700" cap="flat" cmpd="sng" algn="ctr">
            <a:solidFill>
              <a:srgbClr val="00B0F0"/>
            </a:solidFill>
            <a:prstDash val="solid"/>
            <a:round/>
            <a:headEnd type="none" w="med" len="med"/>
            <a:tailEnd type="oval" w="sm" len="sm"/>
          </a:ln>
          <a:effectLst/>
        </p:spPr>
        <p:txBody>
          <a:bodyPr vert="horz" wrap="square" lIns="130629" tIns="65314" rIns="130629" bIns="65314" numCol="1" rtlCol="0" anchor="t" anchorCtr="0" compatLnSpc="1">
            <a:prstTxWarp prst="textNoShape">
              <a:avLst/>
            </a:prstTxWarp>
          </a:bodyPr>
          <a:lstStyle/>
          <a:p>
            <a:r>
              <a:rPr lang="en-US" sz="1286" b="1" dirty="0">
                <a:solidFill>
                  <a:schemeClr val="bg1"/>
                </a:solidFill>
              </a:rPr>
              <a:t>Add in institution-specific information.</a:t>
            </a:r>
          </a:p>
          <a:p>
            <a:r>
              <a:rPr lang="en-US" sz="1286" b="1" dirty="0">
                <a:solidFill>
                  <a:schemeClr val="bg1"/>
                </a:solidFill>
              </a:rPr>
              <a:t>Refer to the talking points in the “notes” section of the PowerPoint to guide your presentation.</a:t>
            </a:r>
          </a:p>
        </p:txBody>
      </p:sp>
    </p:spTree>
    <p:extLst>
      <p:ext uri="{BB962C8B-B14F-4D97-AF65-F5344CB8AC3E}">
        <p14:creationId xmlns:p14="http://schemas.microsoft.com/office/powerpoint/2010/main" val="417618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1CC8F9-4977-4AD5-8C7D-154825D596AF}"/>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C1B43C14-2FD0-49BE-916B-DD2FE7919F1F}"/>
              </a:ext>
            </a:extLst>
          </p:cNvPr>
          <p:cNvSpPr>
            <a:spLocks noGrp="1"/>
          </p:cNvSpPr>
          <p:nvPr>
            <p:ph type="body" sz="quarter" idx="27"/>
          </p:nvPr>
        </p:nvSpPr>
        <p:spPr>
          <a:xfrm>
            <a:off x="6631388" y="5611367"/>
            <a:ext cx="4947838" cy="538609"/>
          </a:xfrm>
        </p:spPr>
        <p:txBody>
          <a:bodyPr/>
          <a:lstStyle/>
          <a:p>
            <a:r>
              <a:rPr lang="en-US">
                <a:solidFill>
                  <a:schemeClr val="accent5"/>
                </a:solidFill>
              </a:rPr>
              <a:t>Source: </a:t>
            </a:r>
            <a:r>
              <a:rPr lang="en-US" err="1">
                <a:solidFill>
                  <a:schemeClr val="accent5"/>
                </a:solidFill>
              </a:rPr>
              <a:t>Vogels</a:t>
            </a:r>
            <a:r>
              <a:rPr lang="en-US">
                <a:solidFill>
                  <a:schemeClr val="accent5"/>
                </a:solidFill>
              </a:rPr>
              <a:t> E, et al., “</a:t>
            </a:r>
            <a:r>
              <a:rPr lang="en-US">
                <a:solidFill>
                  <a:schemeClr val="accent5"/>
                </a:solidFill>
                <a:hlinkClick r:id="rId3"/>
              </a:rPr>
              <a:t>53% of Americans say the internet has been essential during the Covid-19 outbreak</a:t>
            </a:r>
            <a:r>
              <a:rPr lang="en-US">
                <a:solidFill>
                  <a:schemeClr val="accent5"/>
                </a:solidFill>
              </a:rPr>
              <a:t>,” Pew Research Center, April 2020; Asher-Ejiofor Z, “</a:t>
            </a:r>
            <a:r>
              <a:rPr lang="en-US">
                <a:solidFill>
                  <a:schemeClr val="accent5"/>
                </a:solidFill>
                <a:hlinkClick r:id="rId4"/>
              </a:rPr>
              <a:t>Cut your family’s cell phone bill</a:t>
            </a:r>
            <a:r>
              <a:rPr lang="en-US">
                <a:solidFill>
                  <a:schemeClr val="accent5"/>
                </a:solidFill>
              </a:rPr>
              <a:t>,” CNN Money, April 2012; Dilley J, “</a:t>
            </a:r>
            <a:r>
              <a:rPr lang="en-US">
                <a:solidFill>
                  <a:schemeClr val="accent5"/>
                </a:solidFill>
                <a:hlinkClick r:id="rId5"/>
              </a:rPr>
              <a:t>How much should I be paying for high-speed internet?,” </a:t>
            </a:r>
            <a:r>
              <a:rPr lang="en-US">
                <a:solidFill>
                  <a:schemeClr val="accent5"/>
                </a:solidFill>
              </a:rPr>
              <a:t>High Speed Internet, January 2021; </a:t>
            </a:r>
            <a:r>
              <a:rPr lang="en-US" err="1">
                <a:solidFill>
                  <a:schemeClr val="accent5"/>
                </a:solidFill>
              </a:rPr>
              <a:t>Romm</a:t>
            </a:r>
            <a:r>
              <a:rPr lang="en-US">
                <a:solidFill>
                  <a:schemeClr val="accent5"/>
                </a:solidFill>
              </a:rPr>
              <a:t> T, “</a:t>
            </a:r>
            <a:r>
              <a:rPr lang="en-US" u="sng"/>
              <a:t>Lacking a Lifeline: </a:t>
            </a:r>
            <a:r>
              <a:rPr lang="en-US">
                <a:hlinkClick r:id="rId6"/>
              </a:rPr>
              <a:t>How a federal effort to help low-income Americans pay their phone bills failed amid the pandemic</a:t>
            </a:r>
            <a:r>
              <a:rPr lang="en-US"/>
              <a:t>,</a:t>
            </a:r>
            <a:r>
              <a:rPr lang="en-US">
                <a:solidFill>
                  <a:schemeClr val="accent5"/>
                </a:solidFill>
              </a:rPr>
              <a:t>” Washington Post, February 2021.</a:t>
            </a:r>
            <a:endParaRPr lang="en-US"/>
          </a:p>
        </p:txBody>
      </p:sp>
      <p:sp>
        <p:nvSpPr>
          <p:cNvPr id="4" name="Title 3">
            <a:extLst>
              <a:ext uri="{FF2B5EF4-FFF2-40B4-BE49-F238E27FC236}">
                <a16:creationId xmlns:a16="http://schemas.microsoft.com/office/drawing/2014/main" id="{6FDAD865-6440-47B6-9612-4E729DB31EBC}"/>
              </a:ext>
            </a:extLst>
          </p:cNvPr>
          <p:cNvSpPr>
            <a:spLocks noGrp="1"/>
          </p:cNvSpPr>
          <p:nvPr>
            <p:ph type="title"/>
          </p:nvPr>
        </p:nvSpPr>
        <p:spPr/>
        <p:txBody>
          <a:bodyPr/>
          <a:lstStyle/>
          <a:p>
            <a:r>
              <a:rPr lang="en-US"/>
              <a:t>Why isn’t cellular a cure-all? Affordability </a:t>
            </a:r>
          </a:p>
        </p:txBody>
      </p:sp>
      <p:graphicFrame>
        <p:nvGraphicFramePr>
          <p:cNvPr id="59" name="Chart 58">
            <a:extLst>
              <a:ext uri="{FF2B5EF4-FFF2-40B4-BE49-F238E27FC236}">
                <a16:creationId xmlns:a16="http://schemas.microsoft.com/office/drawing/2014/main" id="{9CF03A44-2BF7-4D80-B6B5-001D4C11C598}"/>
              </a:ext>
            </a:extLst>
          </p:cNvPr>
          <p:cNvGraphicFramePr/>
          <p:nvPr/>
        </p:nvGraphicFramePr>
        <p:xfrm>
          <a:off x="609600" y="2536390"/>
          <a:ext cx="6119628" cy="3398142"/>
        </p:xfrm>
        <a:graphic>
          <a:graphicData uri="http://schemas.openxmlformats.org/drawingml/2006/chart">
            <c:chart xmlns:c="http://schemas.openxmlformats.org/drawingml/2006/chart" xmlns:r="http://schemas.openxmlformats.org/officeDocument/2006/relationships" r:id="rId7"/>
          </a:graphicData>
        </a:graphic>
      </p:graphicFrame>
      <p:grpSp>
        <p:nvGrpSpPr>
          <p:cNvPr id="19" name="Group 18">
            <a:extLst>
              <a:ext uri="{FF2B5EF4-FFF2-40B4-BE49-F238E27FC236}">
                <a16:creationId xmlns:a16="http://schemas.microsoft.com/office/drawing/2014/main" id="{B9630BE1-3D18-41A7-8CA4-1A0DDB134B7A}"/>
              </a:ext>
            </a:extLst>
          </p:cNvPr>
          <p:cNvGrpSpPr/>
          <p:nvPr/>
        </p:nvGrpSpPr>
        <p:grpSpPr>
          <a:xfrm>
            <a:off x="7685719" y="2256657"/>
            <a:ext cx="3436510" cy="1488062"/>
            <a:chOff x="8088707" y="4324954"/>
            <a:chExt cx="2831636" cy="1431167"/>
          </a:xfrm>
        </p:grpSpPr>
        <p:sp>
          <p:nvSpPr>
            <p:cNvPr id="20" name="Text Placeholder">
              <a:extLst>
                <a:ext uri="{FF2B5EF4-FFF2-40B4-BE49-F238E27FC236}">
                  <a16:creationId xmlns:a16="http://schemas.microsoft.com/office/drawing/2014/main" id="{FC22CAAF-8BEC-4640-B653-D8A2F1195305}"/>
                </a:ext>
              </a:extLst>
            </p:cNvPr>
            <p:cNvSpPr txBox="1">
              <a:spLocks/>
            </p:cNvSpPr>
            <p:nvPr/>
          </p:nvSpPr>
          <p:spPr bwMode="gray">
            <a:xfrm>
              <a:off x="8088707" y="4324954"/>
              <a:ext cx="2831636" cy="1036032"/>
            </a:xfrm>
            <a:prstGeom prst="rect">
              <a:avLst/>
            </a:prstGeom>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CE0E2D"/>
                </a:buClr>
                <a:buSzTx/>
                <a:buFont typeface="Arial" panose="020B0604020202020204" pitchFamily="34" charset="0"/>
                <a:buNone/>
                <a:tabLst/>
                <a:defRPr/>
              </a:pP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One woman in particular [canceled] her appointment…after exhausting her monthly allotment. The patient had used up all her time planning her brother’s funeral after he died of Covid-19.</a:t>
              </a:r>
            </a:p>
          </p:txBody>
        </p:sp>
        <p:cxnSp>
          <p:nvCxnSpPr>
            <p:cNvPr id="22" name="Straight Connector 21">
              <a:extLst>
                <a:ext uri="{FF2B5EF4-FFF2-40B4-BE49-F238E27FC236}">
                  <a16:creationId xmlns:a16="http://schemas.microsoft.com/office/drawing/2014/main" id="{08C8B380-0E99-415D-9BC0-F1FC25971D83}"/>
                </a:ext>
              </a:extLst>
            </p:cNvPr>
            <p:cNvCxnSpPr/>
            <p:nvPr/>
          </p:nvCxnSpPr>
          <p:spPr bwMode="gray">
            <a:xfrm>
              <a:off x="9104077" y="5452471"/>
              <a:ext cx="842533" cy="0"/>
            </a:xfrm>
            <a:prstGeom prst="line">
              <a:avLst/>
            </a:prstGeom>
            <a:ln w="19050">
              <a:solidFill>
                <a:schemeClr val="accent1"/>
              </a:solidFill>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23" name="Text Placeholder">
              <a:extLst>
                <a:ext uri="{FF2B5EF4-FFF2-40B4-BE49-F238E27FC236}">
                  <a16:creationId xmlns:a16="http://schemas.microsoft.com/office/drawing/2014/main" id="{AFFA64D7-43E1-4FE8-8396-323F72D1771D}"/>
                </a:ext>
              </a:extLst>
            </p:cNvPr>
            <p:cNvSpPr txBox="1">
              <a:spLocks/>
            </p:cNvSpPr>
            <p:nvPr/>
          </p:nvSpPr>
          <p:spPr bwMode="gray">
            <a:xfrm>
              <a:off x="8289534" y="5571327"/>
              <a:ext cx="2344789" cy="184794"/>
            </a:xfrm>
            <a:prstGeom prst="rect">
              <a:avLst/>
            </a:prstGeom>
          </p:spPr>
          <p:txBody>
            <a:bodyPr vert="horz" wrap="square" lIns="0" tIns="0" rIns="0" bIns="0" rtlCol="0">
              <a:spAutoFit/>
            </a:bodyPr>
            <a:lstStyle>
              <a:lvl1pPr marL="171450"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CE0E2D"/>
                </a:buClr>
                <a:buSzTx/>
                <a:buFont typeface="Arial" panose="020B0604020202020204" pitchFamily="34" charset="0"/>
                <a:buNone/>
                <a:tabLst/>
                <a:defRPr/>
              </a:pPr>
              <a:r>
                <a:rPr kumimoji="0" lang="en-US" sz="1201" b="0" i="1" u="none" strike="noStrike" kern="1200" cap="none" spc="0" normalizeH="0" baseline="0" noProof="0">
                  <a:ln>
                    <a:noFill/>
                  </a:ln>
                  <a:solidFill>
                    <a:srgbClr val="70787E"/>
                  </a:solidFill>
                  <a:effectLst/>
                  <a:uLnTx/>
                  <a:uFillTx/>
                  <a:latin typeface="Arial" panose="020B0604020202020204"/>
                  <a:ea typeface="+mn-ea"/>
                  <a:cs typeface="+mn-cs"/>
                </a:rPr>
                <a:t>Washington Post</a:t>
              </a:r>
            </a:p>
          </p:txBody>
        </p:sp>
      </p:grpSp>
      <p:graphicFrame>
        <p:nvGraphicFramePr>
          <p:cNvPr id="29" name="Table 28">
            <a:extLst>
              <a:ext uri="{FF2B5EF4-FFF2-40B4-BE49-F238E27FC236}">
                <a16:creationId xmlns:a16="http://schemas.microsoft.com/office/drawing/2014/main" id="{F987E848-2386-4F3B-AB8A-FCF69B839530}"/>
              </a:ext>
            </a:extLst>
          </p:cNvPr>
          <p:cNvGraphicFramePr>
            <a:graphicFrameLocks noGrp="1"/>
          </p:cNvGraphicFramePr>
          <p:nvPr/>
        </p:nvGraphicFramePr>
        <p:xfrm>
          <a:off x="7458419" y="3934967"/>
          <a:ext cx="4127156" cy="1584960"/>
        </p:xfrm>
        <a:graphic>
          <a:graphicData uri="http://schemas.openxmlformats.org/drawingml/2006/table">
            <a:tbl>
              <a:tblPr firstRow="1" bandRow="1">
                <a:tableStyleId>{2D5ABB26-0587-4C30-8999-92F81FD0307C}</a:tableStyleId>
              </a:tblPr>
              <a:tblGrid>
                <a:gridCol w="4127156">
                  <a:extLst>
                    <a:ext uri="{9D8B030D-6E8A-4147-A177-3AD203B41FA5}">
                      <a16:colId xmlns:a16="http://schemas.microsoft.com/office/drawing/2014/main" val="20000"/>
                    </a:ext>
                  </a:extLst>
                </a:gridCol>
              </a:tblGrid>
              <a:tr h="1433940">
                <a:tc>
                  <a:txBody>
                    <a:bodyPr/>
                    <a:lstStyle/>
                    <a:p>
                      <a:pPr>
                        <a:spcBef>
                          <a:spcPts val="429"/>
                        </a:spcBef>
                      </a:pPr>
                      <a:r>
                        <a:rPr lang="en-US" sz="1600" b="1">
                          <a:solidFill>
                            <a:schemeClr val="accent5"/>
                          </a:solidFill>
                        </a:rPr>
                        <a:t>Average monthly prices in U.S. for:</a:t>
                      </a:r>
                    </a:p>
                    <a:p>
                      <a:pPr>
                        <a:spcBef>
                          <a:spcPts val="429"/>
                        </a:spcBef>
                      </a:pPr>
                      <a:r>
                        <a:rPr lang="en-US" sz="1400">
                          <a:solidFill>
                            <a:schemeClr val="accent5"/>
                          </a:solidFill>
                        </a:rPr>
                        <a:t>Cell phone: $71</a:t>
                      </a:r>
                    </a:p>
                    <a:p>
                      <a:pPr>
                        <a:spcBef>
                          <a:spcPts val="429"/>
                        </a:spcBef>
                      </a:pPr>
                      <a:r>
                        <a:rPr lang="en-US" sz="1400">
                          <a:solidFill>
                            <a:schemeClr val="accent5"/>
                          </a:solidFill>
                        </a:rPr>
                        <a:t>Internet: $50-60 </a:t>
                      </a:r>
                    </a:p>
                    <a:p>
                      <a:pPr>
                        <a:spcBef>
                          <a:spcPts val="429"/>
                        </a:spcBef>
                      </a:pPr>
                      <a:r>
                        <a:rPr lang="en-US" sz="1400">
                          <a:solidFill>
                            <a:schemeClr val="accent5"/>
                          </a:solidFill>
                        </a:rPr>
                        <a:t>Starlink: $99 </a:t>
                      </a:r>
                    </a:p>
                  </a:txBody>
                  <a:tcPr marL="274320" marR="274320" marT="274320" marB="274320">
                    <a:lnT w="2857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bl>
          </a:graphicData>
        </a:graphic>
      </p:graphicFrame>
      <p:grpSp>
        <p:nvGrpSpPr>
          <p:cNvPr id="31" name="Group 30">
            <a:extLst>
              <a:ext uri="{FF2B5EF4-FFF2-40B4-BE49-F238E27FC236}">
                <a16:creationId xmlns:a16="http://schemas.microsoft.com/office/drawing/2014/main" id="{2D976A39-6A85-4A3B-8272-2DB4D7A9AE19}"/>
              </a:ext>
            </a:extLst>
          </p:cNvPr>
          <p:cNvGrpSpPr/>
          <p:nvPr/>
        </p:nvGrpSpPr>
        <p:grpSpPr>
          <a:xfrm>
            <a:off x="9115250" y="1805587"/>
            <a:ext cx="474056" cy="389280"/>
            <a:chOff x="925889" y="8160634"/>
            <a:chExt cx="291544" cy="239407"/>
          </a:xfrm>
        </p:grpSpPr>
        <p:pic>
          <p:nvPicPr>
            <p:cNvPr id="34" name="Graphic 19">
              <a:extLst>
                <a:ext uri="{FF2B5EF4-FFF2-40B4-BE49-F238E27FC236}">
                  <a16:creationId xmlns:a16="http://schemas.microsoft.com/office/drawing/2014/main" id="{68716E5C-2404-4FE8-B08B-A2165EB7814E}"/>
                </a:ext>
              </a:extLst>
            </p:cNvPr>
            <p:cNvPicPr>
              <a:picLocks noChangeAspect="1"/>
            </p:cNvPicPr>
            <p:nvPr/>
          </p:nvPicPr>
          <p:blipFill>
            <a:blip r:embed="rId8"/>
            <a:srcRect/>
            <a:stretch/>
          </p:blipFill>
          <p:spPr>
            <a:xfrm>
              <a:off x="925889" y="8160634"/>
              <a:ext cx="291544" cy="239407"/>
            </a:xfrm>
            <a:prstGeom prst="rect">
              <a:avLst/>
            </a:prstGeom>
          </p:spPr>
        </p:pic>
        <p:sp>
          <p:nvSpPr>
            <p:cNvPr id="35" name="Rectangle 34">
              <a:extLst>
                <a:ext uri="{FF2B5EF4-FFF2-40B4-BE49-F238E27FC236}">
                  <a16:creationId xmlns:a16="http://schemas.microsoft.com/office/drawing/2014/main" id="{40BF5E73-E93B-4AF9-B7E8-E984953813F3}"/>
                </a:ext>
              </a:extLst>
            </p:cNvPr>
            <p:cNvSpPr/>
            <p:nvPr/>
          </p:nvSpPr>
          <p:spPr bwMode="gray">
            <a:xfrm>
              <a:off x="991626" y="8185966"/>
              <a:ext cx="181810" cy="1456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6" name="Group 35">
              <a:extLst>
                <a:ext uri="{FF2B5EF4-FFF2-40B4-BE49-F238E27FC236}">
                  <a16:creationId xmlns:a16="http://schemas.microsoft.com/office/drawing/2014/main" id="{8F2E84D7-A987-48FC-8E07-48DAF519AD2F}"/>
                </a:ext>
              </a:extLst>
            </p:cNvPr>
            <p:cNvGrpSpPr/>
            <p:nvPr/>
          </p:nvGrpSpPr>
          <p:grpSpPr>
            <a:xfrm>
              <a:off x="1017322" y="8204696"/>
              <a:ext cx="113150" cy="97719"/>
              <a:chOff x="4195926" y="1343752"/>
              <a:chExt cx="149690" cy="129276"/>
            </a:xfrm>
          </p:grpSpPr>
          <p:sp>
            <p:nvSpPr>
              <p:cNvPr id="37" name="Freeform 44">
                <a:extLst>
                  <a:ext uri="{FF2B5EF4-FFF2-40B4-BE49-F238E27FC236}">
                    <a16:creationId xmlns:a16="http://schemas.microsoft.com/office/drawing/2014/main" id="{36C6736E-463D-4481-9E5B-E33ACAFF42F8}"/>
                  </a:ext>
                </a:extLst>
              </p:cNvPr>
              <p:cNvSpPr>
                <a:spLocks/>
              </p:cNvSpPr>
              <p:nvPr/>
            </p:nvSpPr>
            <p:spPr bwMode="gray">
              <a:xfrm rot="10800000" flipH="1" flipV="1">
                <a:off x="4276305" y="1343752"/>
                <a:ext cx="69311" cy="129276"/>
              </a:xfrm>
              <a:custGeom>
                <a:avLst/>
                <a:gdLst>
                  <a:gd name="T0" fmla="*/ 1467 w 1517"/>
                  <a:gd name="T1" fmla="*/ 169 h 2830"/>
                  <a:gd name="T2" fmla="*/ 1364 w 1517"/>
                  <a:gd name="T3" fmla="*/ 277 h 2830"/>
                  <a:gd name="T4" fmla="*/ 1246 w 1517"/>
                  <a:gd name="T5" fmla="*/ 406 h 2830"/>
                  <a:gd name="T6" fmla="*/ 1121 w 1517"/>
                  <a:gd name="T7" fmla="*/ 548 h 2830"/>
                  <a:gd name="T8" fmla="*/ 994 w 1517"/>
                  <a:gd name="T9" fmla="*/ 700 h 2830"/>
                  <a:gd name="T10" fmla="*/ 874 w 1517"/>
                  <a:gd name="T11" fmla="*/ 854 h 2830"/>
                  <a:gd name="T12" fmla="*/ 766 w 1517"/>
                  <a:gd name="T13" fmla="*/ 1006 h 2830"/>
                  <a:gd name="T14" fmla="*/ 676 w 1517"/>
                  <a:gd name="T15" fmla="*/ 1148 h 2830"/>
                  <a:gd name="T16" fmla="*/ 613 w 1517"/>
                  <a:gd name="T17" fmla="*/ 1277 h 2830"/>
                  <a:gd name="T18" fmla="*/ 581 w 1517"/>
                  <a:gd name="T19" fmla="*/ 1385 h 2830"/>
                  <a:gd name="T20" fmla="*/ 586 w 1517"/>
                  <a:gd name="T21" fmla="*/ 1451 h 2830"/>
                  <a:gd name="T22" fmla="*/ 615 w 1517"/>
                  <a:gd name="T23" fmla="*/ 1481 h 2830"/>
                  <a:gd name="T24" fmla="*/ 652 w 1517"/>
                  <a:gd name="T25" fmla="*/ 1493 h 2830"/>
                  <a:gd name="T26" fmla="*/ 679 w 1517"/>
                  <a:gd name="T27" fmla="*/ 1495 h 2830"/>
                  <a:gd name="T28" fmla="*/ 770 w 1517"/>
                  <a:gd name="T29" fmla="*/ 1496 h 2830"/>
                  <a:gd name="T30" fmla="*/ 873 w 1517"/>
                  <a:gd name="T31" fmla="*/ 1500 h 2830"/>
                  <a:gd name="T32" fmla="*/ 983 w 1517"/>
                  <a:gd name="T33" fmla="*/ 1512 h 2830"/>
                  <a:gd name="T34" fmla="*/ 1094 w 1517"/>
                  <a:gd name="T35" fmla="*/ 1535 h 2830"/>
                  <a:gd name="T36" fmla="*/ 1202 w 1517"/>
                  <a:gd name="T37" fmla="*/ 1574 h 2830"/>
                  <a:gd name="T38" fmla="*/ 1302 w 1517"/>
                  <a:gd name="T39" fmla="*/ 1632 h 2830"/>
                  <a:gd name="T40" fmla="*/ 1389 w 1517"/>
                  <a:gd name="T41" fmla="*/ 1714 h 2830"/>
                  <a:gd name="T42" fmla="*/ 1456 w 1517"/>
                  <a:gd name="T43" fmla="*/ 1822 h 2830"/>
                  <a:gd name="T44" fmla="*/ 1501 w 1517"/>
                  <a:gd name="T45" fmla="*/ 1959 h 2830"/>
                  <a:gd name="T46" fmla="*/ 1517 w 1517"/>
                  <a:gd name="T47" fmla="*/ 2132 h 2830"/>
                  <a:gd name="T48" fmla="*/ 1497 w 1517"/>
                  <a:gd name="T49" fmla="*/ 2279 h 2830"/>
                  <a:gd name="T50" fmla="*/ 1440 w 1517"/>
                  <a:gd name="T51" fmla="*/ 2424 h 2830"/>
                  <a:gd name="T52" fmla="*/ 1347 w 1517"/>
                  <a:gd name="T53" fmla="*/ 2559 h 2830"/>
                  <a:gd name="T54" fmla="*/ 1224 w 1517"/>
                  <a:gd name="T55" fmla="*/ 2676 h 2830"/>
                  <a:gd name="T56" fmla="*/ 1071 w 1517"/>
                  <a:gd name="T57" fmla="*/ 2766 h 2830"/>
                  <a:gd name="T58" fmla="*/ 891 w 1517"/>
                  <a:gd name="T59" fmla="*/ 2819 h 2830"/>
                  <a:gd name="T60" fmla="*/ 692 w 1517"/>
                  <a:gd name="T61" fmla="*/ 2828 h 2830"/>
                  <a:gd name="T62" fmla="*/ 513 w 1517"/>
                  <a:gd name="T63" fmla="*/ 2793 h 2830"/>
                  <a:gd name="T64" fmla="*/ 361 w 1517"/>
                  <a:gd name="T65" fmla="*/ 2723 h 2830"/>
                  <a:gd name="T66" fmla="*/ 237 w 1517"/>
                  <a:gd name="T67" fmla="*/ 2624 h 2830"/>
                  <a:gd name="T68" fmla="*/ 140 w 1517"/>
                  <a:gd name="T69" fmla="*/ 2503 h 2830"/>
                  <a:gd name="T70" fmla="*/ 68 w 1517"/>
                  <a:gd name="T71" fmla="*/ 2368 h 2830"/>
                  <a:gd name="T72" fmla="*/ 22 w 1517"/>
                  <a:gd name="T73" fmla="*/ 2224 h 2830"/>
                  <a:gd name="T74" fmla="*/ 2 w 1517"/>
                  <a:gd name="T75" fmla="*/ 2080 h 2830"/>
                  <a:gd name="T76" fmla="*/ 5 w 1517"/>
                  <a:gd name="T77" fmla="*/ 1929 h 2830"/>
                  <a:gd name="T78" fmla="*/ 29 w 1517"/>
                  <a:gd name="T79" fmla="*/ 1767 h 2830"/>
                  <a:gd name="T80" fmla="*/ 77 w 1517"/>
                  <a:gd name="T81" fmla="*/ 1595 h 2830"/>
                  <a:gd name="T82" fmla="*/ 152 w 1517"/>
                  <a:gd name="T83" fmla="*/ 1415 h 2830"/>
                  <a:gd name="T84" fmla="*/ 257 w 1517"/>
                  <a:gd name="T85" fmla="*/ 1222 h 2830"/>
                  <a:gd name="T86" fmla="*/ 394 w 1517"/>
                  <a:gd name="T87" fmla="*/ 1014 h 2830"/>
                  <a:gd name="T88" fmla="*/ 565 w 1517"/>
                  <a:gd name="T89" fmla="*/ 790 h 2830"/>
                  <a:gd name="T90" fmla="*/ 774 w 1517"/>
                  <a:gd name="T91" fmla="*/ 547 h 2830"/>
                  <a:gd name="T92" fmla="*/ 1024 w 1517"/>
                  <a:gd name="T93" fmla="*/ 285 h 2830"/>
                  <a:gd name="T94" fmla="*/ 1318 w 1517"/>
                  <a:gd name="T95" fmla="*/ 0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7" h="2830">
                    <a:moveTo>
                      <a:pt x="1318" y="0"/>
                    </a:moveTo>
                    <a:lnTo>
                      <a:pt x="1497" y="139"/>
                    </a:lnTo>
                    <a:lnTo>
                      <a:pt x="1467" y="169"/>
                    </a:lnTo>
                    <a:lnTo>
                      <a:pt x="1434" y="203"/>
                    </a:lnTo>
                    <a:lnTo>
                      <a:pt x="1399" y="239"/>
                    </a:lnTo>
                    <a:lnTo>
                      <a:pt x="1364" y="277"/>
                    </a:lnTo>
                    <a:lnTo>
                      <a:pt x="1326" y="318"/>
                    </a:lnTo>
                    <a:lnTo>
                      <a:pt x="1286" y="361"/>
                    </a:lnTo>
                    <a:lnTo>
                      <a:pt x="1246" y="406"/>
                    </a:lnTo>
                    <a:lnTo>
                      <a:pt x="1205" y="452"/>
                    </a:lnTo>
                    <a:lnTo>
                      <a:pt x="1163" y="499"/>
                    </a:lnTo>
                    <a:lnTo>
                      <a:pt x="1121" y="548"/>
                    </a:lnTo>
                    <a:lnTo>
                      <a:pt x="1078" y="598"/>
                    </a:lnTo>
                    <a:lnTo>
                      <a:pt x="1036" y="649"/>
                    </a:lnTo>
                    <a:lnTo>
                      <a:pt x="994" y="700"/>
                    </a:lnTo>
                    <a:lnTo>
                      <a:pt x="954" y="751"/>
                    </a:lnTo>
                    <a:lnTo>
                      <a:pt x="913" y="803"/>
                    </a:lnTo>
                    <a:lnTo>
                      <a:pt x="874" y="854"/>
                    </a:lnTo>
                    <a:lnTo>
                      <a:pt x="836" y="906"/>
                    </a:lnTo>
                    <a:lnTo>
                      <a:pt x="801" y="956"/>
                    </a:lnTo>
                    <a:lnTo>
                      <a:pt x="766" y="1006"/>
                    </a:lnTo>
                    <a:lnTo>
                      <a:pt x="733" y="1055"/>
                    </a:lnTo>
                    <a:lnTo>
                      <a:pt x="704" y="1102"/>
                    </a:lnTo>
                    <a:lnTo>
                      <a:pt x="676" y="1148"/>
                    </a:lnTo>
                    <a:lnTo>
                      <a:pt x="652" y="1193"/>
                    </a:lnTo>
                    <a:lnTo>
                      <a:pt x="630" y="1236"/>
                    </a:lnTo>
                    <a:lnTo>
                      <a:pt x="613" y="1277"/>
                    </a:lnTo>
                    <a:lnTo>
                      <a:pt x="599" y="1315"/>
                    </a:lnTo>
                    <a:lnTo>
                      <a:pt x="587" y="1351"/>
                    </a:lnTo>
                    <a:lnTo>
                      <a:pt x="581" y="1385"/>
                    </a:lnTo>
                    <a:lnTo>
                      <a:pt x="579" y="1415"/>
                    </a:lnTo>
                    <a:lnTo>
                      <a:pt x="580" y="1435"/>
                    </a:lnTo>
                    <a:lnTo>
                      <a:pt x="586" y="1451"/>
                    </a:lnTo>
                    <a:lnTo>
                      <a:pt x="594" y="1464"/>
                    </a:lnTo>
                    <a:lnTo>
                      <a:pt x="604" y="1474"/>
                    </a:lnTo>
                    <a:lnTo>
                      <a:pt x="615" y="1481"/>
                    </a:lnTo>
                    <a:lnTo>
                      <a:pt x="627" y="1487"/>
                    </a:lnTo>
                    <a:lnTo>
                      <a:pt x="639" y="1491"/>
                    </a:lnTo>
                    <a:lnTo>
                      <a:pt x="652" y="1493"/>
                    </a:lnTo>
                    <a:lnTo>
                      <a:pt x="663" y="1495"/>
                    </a:lnTo>
                    <a:lnTo>
                      <a:pt x="672" y="1495"/>
                    </a:lnTo>
                    <a:lnTo>
                      <a:pt x="679" y="1495"/>
                    </a:lnTo>
                    <a:lnTo>
                      <a:pt x="708" y="1495"/>
                    </a:lnTo>
                    <a:lnTo>
                      <a:pt x="738" y="1495"/>
                    </a:lnTo>
                    <a:lnTo>
                      <a:pt x="770" y="1496"/>
                    </a:lnTo>
                    <a:lnTo>
                      <a:pt x="804" y="1497"/>
                    </a:lnTo>
                    <a:lnTo>
                      <a:pt x="838" y="1498"/>
                    </a:lnTo>
                    <a:lnTo>
                      <a:pt x="873" y="1500"/>
                    </a:lnTo>
                    <a:lnTo>
                      <a:pt x="910" y="1503"/>
                    </a:lnTo>
                    <a:lnTo>
                      <a:pt x="946" y="1507"/>
                    </a:lnTo>
                    <a:lnTo>
                      <a:pt x="983" y="1512"/>
                    </a:lnTo>
                    <a:lnTo>
                      <a:pt x="1020" y="1518"/>
                    </a:lnTo>
                    <a:lnTo>
                      <a:pt x="1058" y="1526"/>
                    </a:lnTo>
                    <a:lnTo>
                      <a:pt x="1094" y="1535"/>
                    </a:lnTo>
                    <a:lnTo>
                      <a:pt x="1131" y="1547"/>
                    </a:lnTo>
                    <a:lnTo>
                      <a:pt x="1167" y="1560"/>
                    </a:lnTo>
                    <a:lnTo>
                      <a:pt x="1202" y="1574"/>
                    </a:lnTo>
                    <a:lnTo>
                      <a:pt x="1237" y="1591"/>
                    </a:lnTo>
                    <a:lnTo>
                      <a:pt x="1271" y="1611"/>
                    </a:lnTo>
                    <a:lnTo>
                      <a:pt x="1302" y="1632"/>
                    </a:lnTo>
                    <a:lnTo>
                      <a:pt x="1333" y="1657"/>
                    </a:lnTo>
                    <a:lnTo>
                      <a:pt x="1362" y="1684"/>
                    </a:lnTo>
                    <a:lnTo>
                      <a:pt x="1389" y="1714"/>
                    </a:lnTo>
                    <a:lnTo>
                      <a:pt x="1414" y="1746"/>
                    </a:lnTo>
                    <a:lnTo>
                      <a:pt x="1436" y="1782"/>
                    </a:lnTo>
                    <a:lnTo>
                      <a:pt x="1456" y="1822"/>
                    </a:lnTo>
                    <a:lnTo>
                      <a:pt x="1474" y="1863"/>
                    </a:lnTo>
                    <a:lnTo>
                      <a:pt x="1489" y="1910"/>
                    </a:lnTo>
                    <a:lnTo>
                      <a:pt x="1501" y="1959"/>
                    </a:lnTo>
                    <a:lnTo>
                      <a:pt x="1509" y="2013"/>
                    </a:lnTo>
                    <a:lnTo>
                      <a:pt x="1515" y="2071"/>
                    </a:lnTo>
                    <a:lnTo>
                      <a:pt x="1517" y="2132"/>
                    </a:lnTo>
                    <a:lnTo>
                      <a:pt x="1515" y="2180"/>
                    </a:lnTo>
                    <a:lnTo>
                      <a:pt x="1508" y="2229"/>
                    </a:lnTo>
                    <a:lnTo>
                      <a:pt x="1497" y="2279"/>
                    </a:lnTo>
                    <a:lnTo>
                      <a:pt x="1482" y="2328"/>
                    </a:lnTo>
                    <a:lnTo>
                      <a:pt x="1463" y="2376"/>
                    </a:lnTo>
                    <a:lnTo>
                      <a:pt x="1440" y="2424"/>
                    </a:lnTo>
                    <a:lnTo>
                      <a:pt x="1413" y="2470"/>
                    </a:lnTo>
                    <a:lnTo>
                      <a:pt x="1382" y="2515"/>
                    </a:lnTo>
                    <a:lnTo>
                      <a:pt x="1347" y="2559"/>
                    </a:lnTo>
                    <a:lnTo>
                      <a:pt x="1310" y="2601"/>
                    </a:lnTo>
                    <a:lnTo>
                      <a:pt x="1269" y="2640"/>
                    </a:lnTo>
                    <a:lnTo>
                      <a:pt x="1224" y="2676"/>
                    </a:lnTo>
                    <a:lnTo>
                      <a:pt x="1176" y="2710"/>
                    </a:lnTo>
                    <a:lnTo>
                      <a:pt x="1125" y="2739"/>
                    </a:lnTo>
                    <a:lnTo>
                      <a:pt x="1071" y="2766"/>
                    </a:lnTo>
                    <a:lnTo>
                      <a:pt x="1014" y="2788"/>
                    </a:lnTo>
                    <a:lnTo>
                      <a:pt x="954" y="2806"/>
                    </a:lnTo>
                    <a:lnTo>
                      <a:pt x="891" y="2819"/>
                    </a:lnTo>
                    <a:lnTo>
                      <a:pt x="826" y="2827"/>
                    </a:lnTo>
                    <a:lnTo>
                      <a:pt x="759" y="2830"/>
                    </a:lnTo>
                    <a:lnTo>
                      <a:pt x="692" y="2828"/>
                    </a:lnTo>
                    <a:lnTo>
                      <a:pt x="629" y="2821"/>
                    </a:lnTo>
                    <a:lnTo>
                      <a:pt x="570" y="2809"/>
                    </a:lnTo>
                    <a:lnTo>
                      <a:pt x="513" y="2793"/>
                    </a:lnTo>
                    <a:lnTo>
                      <a:pt x="459" y="2773"/>
                    </a:lnTo>
                    <a:lnTo>
                      <a:pt x="409" y="2750"/>
                    </a:lnTo>
                    <a:lnTo>
                      <a:pt x="361" y="2723"/>
                    </a:lnTo>
                    <a:lnTo>
                      <a:pt x="317" y="2692"/>
                    </a:lnTo>
                    <a:lnTo>
                      <a:pt x="275" y="2660"/>
                    </a:lnTo>
                    <a:lnTo>
                      <a:pt x="237" y="2624"/>
                    </a:lnTo>
                    <a:lnTo>
                      <a:pt x="202" y="2586"/>
                    </a:lnTo>
                    <a:lnTo>
                      <a:pt x="169" y="2546"/>
                    </a:lnTo>
                    <a:lnTo>
                      <a:pt x="140" y="2503"/>
                    </a:lnTo>
                    <a:lnTo>
                      <a:pt x="112" y="2459"/>
                    </a:lnTo>
                    <a:lnTo>
                      <a:pt x="89" y="2414"/>
                    </a:lnTo>
                    <a:lnTo>
                      <a:pt x="68" y="2368"/>
                    </a:lnTo>
                    <a:lnTo>
                      <a:pt x="50" y="2321"/>
                    </a:lnTo>
                    <a:lnTo>
                      <a:pt x="35" y="2273"/>
                    </a:lnTo>
                    <a:lnTo>
                      <a:pt x="22" y="2224"/>
                    </a:lnTo>
                    <a:lnTo>
                      <a:pt x="12" y="2176"/>
                    </a:lnTo>
                    <a:lnTo>
                      <a:pt x="6" y="2128"/>
                    </a:lnTo>
                    <a:lnTo>
                      <a:pt x="2" y="2080"/>
                    </a:lnTo>
                    <a:lnTo>
                      <a:pt x="0" y="2032"/>
                    </a:lnTo>
                    <a:lnTo>
                      <a:pt x="1" y="1980"/>
                    </a:lnTo>
                    <a:lnTo>
                      <a:pt x="5" y="1929"/>
                    </a:lnTo>
                    <a:lnTo>
                      <a:pt x="10" y="1876"/>
                    </a:lnTo>
                    <a:lnTo>
                      <a:pt x="18" y="1822"/>
                    </a:lnTo>
                    <a:lnTo>
                      <a:pt x="29" y="1767"/>
                    </a:lnTo>
                    <a:lnTo>
                      <a:pt x="43" y="1711"/>
                    </a:lnTo>
                    <a:lnTo>
                      <a:pt x="58" y="1654"/>
                    </a:lnTo>
                    <a:lnTo>
                      <a:pt x="77" y="1595"/>
                    </a:lnTo>
                    <a:lnTo>
                      <a:pt x="99" y="1536"/>
                    </a:lnTo>
                    <a:lnTo>
                      <a:pt x="124" y="1476"/>
                    </a:lnTo>
                    <a:lnTo>
                      <a:pt x="152" y="1415"/>
                    </a:lnTo>
                    <a:lnTo>
                      <a:pt x="183" y="1352"/>
                    </a:lnTo>
                    <a:lnTo>
                      <a:pt x="218" y="1288"/>
                    </a:lnTo>
                    <a:lnTo>
                      <a:pt x="257" y="1222"/>
                    </a:lnTo>
                    <a:lnTo>
                      <a:pt x="299" y="1154"/>
                    </a:lnTo>
                    <a:lnTo>
                      <a:pt x="344" y="1085"/>
                    </a:lnTo>
                    <a:lnTo>
                      <a:pt x="394" y="1014"/>
                    </a:lnTo>
                    <a:lnTo>
                      <a:pt x="447" y="942"/>
                    </a:lnTo>
                    <a:lnTo>
                      <a:pt x="504" y="866"/>
                    </a:lnTo>
                    <a:lnTo>
                      <a:pt x="565" y="790"/>
                    </a:lnTo>
                    <a:lnTo>
                      <a:pt x="630" y="711"/>
                    </a:lnTo>
                    <a:lnTo>
                      <a:pt x="700" y="631"/>
                    </a:lnTo>
                    <a:lnTo>
                      <a:pt x="774" y="547"/>
                    </a:lnTo>
                    <a:lnTo>
                      <a:pt x="853" y="463"/>
                    </a:lnTo>
                    <a:lnTo>
                      <a:pt x="936" y="375"/>
                    </a:lnTo>
                    <a:lnTo>
                      <a:pt x="1024" y="285"/>
                    </a:lnTo>
                    <a:lnTo>
                      <a:pt x="1117" y="193"/>
                    </a:lnTo>
                    <a:lnTo>
                      <a:pt x="1215" y="97"/>
                    </a:lnTo>
                    <a:lnTo>
                      <a:pt x="1318" y="0"/>
                    </a:lnTo>
                    <a:close/>
                  </a:path>
                </a:pathLst>
              </a:custGeom>
              <a:solidFill>
                <a:schemeClr val="accent6"/>
              </a:solidFill>
              <a:ln w="0">
                <a:noFill/>
                <a:prstDash val="solid"/>
                <a:round/>
                <a:headEnd/>
                <a:tailEnd/>
              </a:ln>
            </p:spPr>
            <p:txBody>
              <a:bodyPr vert="horz" wrap="square" lIns="130629" tIns="65314" rIns="130629" bIns="65314" numCol="1" anchor="t" anchorCtr="0" compatLnSpc="1">
                <a:prstTxWarp prst="textNoShape">
                  <a:avLst/>
                </a:prstTxWarp>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0"/>
                  </a:spcBef>
                  <a:spcAft>
                    <a:spcPts val="0"/>
                  </a:spcAft>
                  <a:buClrTx/>
                  <a:buSzTx/>
                  <a:buFontTx/>
                  <a:buNone/>
                  <a:tabLst/>
                  <a:defRPr/>
                </a:pPr>
                <a:endParaRPr kumimoji="0" lang="en-US" sz="1857"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Freeform 45">
                <a:extLst>
                  <a:ext uri="{FF2B5EF4-FFF2-40B4-BE49-F238E27FC236}">
                    <a16:creationId xmlns:a16="http://schemas.microsoft.com/office/drawing/2014/main" id="{87EF06E0-124F-4834-82F8-1E22345699E2}"/>
                  </a:ext>
                </a:extLst>
              </p:cNvPr>
              <p:cNvSpPr>
                <a:spLocks/>
              </p:cNvSpPr>
              <p:nvPr/>
            </p:nvSpPr>
            <p:spPr bwMode="gray">
              <a:xfrm rot="10800000" flipH="1" flipV="1">
                <a:off x="4195926" y="1343752"/>
                <a:ext cx="69311" cy="129276"/>
              </a:xfrm>
              <a:custGeom>
                <a:avLst/>
                <a:gdLst>
                  <a:gd name="T0" fmla="*/ 1471 w 1517"/>
                  <a:gd name="T1" fmla="*/ 165 h 2830"/>
                  <a:gd name="T2" fmla="*/ 1374 w 1517"/>
                  <a:gd name="T3" fmla="*/ 265 h 2830"/>
                  <a:gd name="T4" fmla="*/ 1256 w 1517"/>
                  <a:gd name="T5" fmla="*/ 394 h 2830"/>
                  <a:gd name="T6" fmla="*/ 1125 w 1517"/>
                  <a:gd name="T7" fmla="*/ 540 h 2830"/>
                  <a:gd name="T8" fmla="*/ 993 w 1517"/>
                  <a:gd name="T9" fmla="*/ 700 h 2830"/>
                  <a:gd name="T10" fmla="*/ 871 w 1517"/>
                  <a:gd name="T11" fmla="*/ 864 h 2830"/>
                  <a:gd name="T12" fmla="*/ 767 w 1517"/>
                  <a:gd name="T13" fmla="*/ 1025 h 2830"/>
                  <a:gd name="T14" fmla="*/ 689 w 1517"/>
                  <a:gd name="T15" fmla="*/ 1158 h 2830"/>
                  <a:gd name="T16" fmla="*/ 634 w 1517"/>
                  <a:gd name="T17" fmla="*/ 1253 h 2830"/>
                  <a:gd name="T18" fmla="*/ 603 w 1517"/>
                  <a:gd name="T19" fmla="*/ 1319 h 2830"/>
                  <a:gd name="T20" fmla="*/ 585 w 1517"/>
                  <a:gd name="T21" fmla="*/ 1363 h 2830"/>
                  <a:gd name="T22" fmla="*/ 579 w 1517"/>
                  <a:gd name="T23" fmla="*/ 1393 h 2830"/>
                  <a:gd name="T24" fmla="*/ 578 w 1517"/>
                  <a:gd name="T25" fmla="*/ 1415 h 2830"/>
                  <a:gd name="T26" fmla="*/ 591 w 1517"/>
                  <a:gd name="T27" fmla="*/ 1464 h 2830"/>
                  <a:gd name="T28" fmla="*/ 619 w 1517"/>
                  <a:gd name="T29" fmla="*/ 1487 h 2830"/>
                  <a:gd name="T30" fmla="*/ 655 w 1517"/>
                  <a:gd name="T31" fmla="*/ 1495 h 2830"/>
                  <a:gd name="T32" fmla="*/ 708 w 1517"/>
                  <a:gd name="T33" fmla="*/ 1495 h 2830"/>
                  <a:gd name="T34" fmla="*/ 804 w 1517"/>
                  <a:gd name="T35" fmla="*/ 1497 h 2830"/>
                  <a:gd name="T36" fmla="*/ 909 w 1517"/>
                  <a:gd name="T37" fmla="*/ 1503 h 2830"/>
                  <a:gd name="T38" fmla="*/ 1020 w 1517"/>
                  <a:gd name="T39" fmla="*/ 1518 h 2830"/>
                  <a:gd name="T40" fmla="*/ 1131 w 1517"/>
                  <a:gd name="T41" fmla="*/ 1547 h 2830"/>
                  <a:gd name="T42" fmla="*/ 1237 w 1517"/>
                  <a:gd name="T43" fmla="*/ 1591 h 2830"/>
                  <a:gd name="T44" fmla="*/ 1333 w 1517"/>
                  <a:gd name="T45" fmla="*/ 1657 h 2830"/>
                  <a:gd name="T46" fmla="*/ 1414 w 1517"/>
                  <a:gd name="T47" fmla="*/ 1746 h 2830"/>
                  <a:gd name="T48" fmla="*/ 1474 w 1517"/>
                  <a:gd name="T49" fmla="*/ 1863 h 2830"/>
                  <a:gd name="T50" fmla="*/ 1510 w 1517"/>
                  <a:gd name="T51" fmla="*/ 2013 h 2830"/>
                  <a:gd name="T52" fmla="*/ 1515 w 1517"/>
                  <a:gd name="T53" fmla="*/ 2180 h 2830"/>
                  <a:gd name="T54" fmla="*/ 1482 w 1517"/>
                  <a:gd name="T55" fmla="*/ 2328 h 2830"/>
                  <a:gd name="T56" fmla="*/ 1413 w 1517"/>
                  <a:gd name="T57" fmla="*/ 2470 h 2830"/>
                  <a:gd name="T58" fmla="*/ 1310 w 1517"/>
                  <a:gd name="T59" fmla="*/ 2601 h 2830"/>
                  <a:gd name="T60" fmla="*/ 1176 w 1517"/>
                  <a:gd name="T61" fmla="*/ 2710 h 2830"/>
                  <a:gd name="T62" fmla="*/ 1014 w 1517"/>
                  <a:gd name="T63" fmla="*/ 2788 h 2830"/>
                  <a:gd name="T64" fmla="*/ 826 w 1517"/>
                  <a:gd name="T65" fmla="*/ 2827 h 2830"/>
                  <a:gd name="T66" fmla="*/ 629 w 1517"/>
                  <a:gd name="T67" fmla="*/ 2821 h 2830"/>
                  <a:gd name="T68" fmla="*/ 459 w 1517"/>
                  <a:gd name="T69" fmla="*/ 2773 h 2830"/>
                  <a:gd name="T70" fmla="*/ 316 w 1517"/>
                  <a:gd name="T71" fmla="*/ 2692 h 2830"/>
                  <a:gd name="T72" fmla="*/ 201 w 1517"/>
                  <a:gd name="T73" fmla="*/ 2586 h 2830"/>
                  <a:gd name="T74" fmla="*/ 112 w 1517"/>
                  <a:gd name="T75" fmla="*/ 2459 h 2830"/>
                  <a:gd name="T76" fmla="*/ 50 w 1517"/>
                  <a:gd name="T77" fmla="*/ 2321 h 2830"/>
                  <a:gd name="T78" fmla="*/ 12 w 1517"/>
                  <a:gd name="T79" fmla="*/ 2176 h 2830"/>
                  <a:gd name="T80" fmla="*/ 0 w 1517"/>
                  <a:gd name="T81" fmla="*/ 2032 h 2830"/>
                  <a:gd name="T82" fmla="*/ 10 w 1517"/>
                  <a:gd name="T83" fmla="*/ 1876 h 2830"/>
                  <a:gd name="T84" fmla="*/ 42 w 1517"/>
                  <a:gd name="T85" fmla="*/ 1711 h 2830"/>
                  <a:gd name="T86" fmla="*/ 99 w 1517"/>
                  <a:gd name="T87" fmla="*/ 1536 h 2830"/>
                  <a:gd name="T88" fmla="*/ 184 w 1517"/>
                  <a:gd name="T89" fmla="*/ 1352 h 2830"/>
                  <a:gd name="T90" fmla="*/ 298 w 1517"/>
                  <a:gd name="T91" fmla="*/ 1154 h 2830"/>
                  <a:gd name="T92" fmla="*/ 446 w 1517"/>
                  <a:gd name="T93" fmla="*/ 942 h 2830"/>
                  <a:gd name="T94" fmla="*/ 630 w 1517"/>
                  <a:gd name="T95" fmla="*/ 711 h 2830"/>
                  <a:gd name="T96" fmla="*/ 853 w 1517"/>
                  <a:gd name="T97" fmla="*/ 463 h 2830"/>
                  <a:gd name="T98" fmla="*/ 1117 w 1517"/>
                  <a:gd name="T99" fmla="*/ 19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7" h="2830">
                    <a:moveTo>
                      <a:pt x="1317" y="0"/>
                    </a:moveTo>
                    <a:lnTo>
                      <a:pt x="1496" y="139"/>
                    </a:lnTo>
                    <a:lnTo>
                      <a:pt x="1471" y="165"/>
                    </a:lnTo>
                    <a:lnTo>
                      <a:pt x="1441" y="195"/>
                    </a:lnTo>
                    <a:lnTo>
                      <a:pt x="1409" y="229"/>
                    </a:lnTo>
                    <a:lnTo>
                      <a:pt x="1374" y="265"/>
                    </a:lnTo>
                    <a:lnTo>
                      <a:pt x="1336" y="305"/>
                    </a:lnTo>
                    <a:lnTo>
                      <a:pt x="1296" y="348"/>
                    </a:lnTo>
                    <a:lnTo>
                      <a:pt x="1256" y="394"/>
                    </a:lnTo>
                    <a:lnTo>
                      <a:pt x="1213" y="440"/>
                    </a:lnTo>
                    <a:lnTo>
                      <a:pt x="1169" y="489"/>
                    </a:lnTo>
                    <a:lnTo>
                      <a:pt x="1125" y="540"/>
                    </a:lnTo>
                    <a:lnTo>
                      <a:pt x="1081" y="593"/>
                    </a:lnTo>
                    <a:lnTo>
                      <a:pt x="1037" y="646"/>
                    </a:lnTo>
                    <a:lnTo>
                      <a:pt x="993" y="700"/>
                    </a:lnTo>
                    <a:lnTo>
                      <a:pt x="952" y="754"/>
                    </a:lnTo>
                    <a:lnTo>
                      <a:pt x="910" y="809"/>
                    </a:lnTo>
                    <a:lnTo>
                      <a:pt x="871" y="864"/>
                    </a:lnTo>
                    <a:lnTo>
                      <a:pt x="833" y="918"/>
                    </a:lnTo>
                    <a:lnTo>
                      <a:pt x="799" y="972"/>
                    </a:lnTo>
                    <a:lnTo>
                      <a:pt x="767" y="1025"/>
                    </a:lnTo>
                    <a:lnTo>
                      <a:pt x="738" y="1076"/>
                    </a:lnTo>
                    <a:lnTo>
                      <a:pt x="712" y="1120"/>
                    </a:lnTo>
                    <a:lnTo>
                      <a:pt x="689" y="1158"/>
                    </a:lnTo>
                    <a:lnTo>
                      <a:pt x="668" y="1194"/>
                    </a:lnTo>
                    <a:lnTo>
                      <a:pt x="650" y="1226"/>
                    </a:lnTo>
                    <a:lnTo>
                      <a:pt x="634" y="1253"/>
                    </a:lnTo>
                    <a:lnTo>
                      <a:pt x="622" y="1279"/>
                    </a:lnTo>
                    <a:lnTo>
                      <a:pt x="611" y="1300"/>
                    </a:lnTo>
                    <a:lnTo>
                      <a:pt x="603" y="1319"/>
                    </a:lnTo>
                    <a:lnTo>
                      <a:pt x="596" y="1336"/>
                    </a:lnTo>
                    <a:lnTo>
                      <a:pt x="590" y="1350"/>
                    </a:lnTo>
                    <a:lnTo>
                      <a:pt x="585" y="1363"/>
                    </a:lnTo>
                    <a:lnTo>
                      <a:pt x="582" y="1374"/>
                    </a:lnTo>
                    <a:lnTo>
                      <a:pt x="580" y="1384"/>
                    </a:lnTo>
                    <a:lnTo>
                      <a:pt x="579" y="1393"/>
                    </a:lnTo>
                    <a:lnTo>
                      <a:pt x="579" y="1401"/>
                    </a:lnTo>
                    <a:lnTo>
                      <a:pt x="578" y="1408"/>
                    </a:lnTo>
                    <a:lnTo>
                      <a:pt x="578" y="1415"/>
                    </a:lnTo>
                    <a:lnTo>
                      <a:pt x="580" y="1435"/>
                    </a:lnTo>
                    <a:lnTo>
                      <a:pt x="584" y="1451"/>
                    </a:lnTo>
                    <a:lnTo>
                      <a:pt x="591" y="1464"/>
                    </a:lnTo>
                    <a:lnTo>
                      <a:pt x="599" y="1474"/>
                    </a:lnTo>
                    <a:lnTo>
                      <a:pt x="608" y="1481"/>
                    </a:lnTo>
                    <a:lnTo>
                      <a:pt x="619" y="1487"/>
                    </a:lnTo>
                    <a:lnTo>
                      <a:pt x="631" y="1491"/>
                    </a:lnTo>
                    <a:lnTo>
                      <a:pt x="643" y="1493"/>
                    </a:lnTo>
                    <a:lnTo>
                      <a:pt x="655" y="1495"/>
                    </a:lnTo>
                    <a:lnTo>
                      <a:pt x="667" y="1495"/>
                    </a:lnTo>
                    <a:lnTo>
                      <a:pt x="678" y="1495"/>
                    </a:lnTo>
                    <a:lnTo>
                      <a:pt x="708" y="1495"/>
                    </a:lnTo>
                    <a:lnTo>
                      <a:pt x="737" y="1495"/>
                    </a:lnTo>
                    <a:lnTo>
                      <a:pt x="770" y="1496"/>
                    </a:lnTo>
                    <a:lnTo>
                      <a:pt x="804" y="1497"/>
                    </a:lnTo>
                    <a:lnTo>
                      <a:pt x="837" y="1498"/>
                    </a:lnTo>
                    <a:lnTo>
                      <a:pt x="873" y="1500"/>
                    </a:lnTo>
                    <a:lnTo>
                      <a:pt x="909" y="1503"/>
                    </a:lnTo>
                    <a:lnTo>
                      <a:pt x="946" y="1507"/>
                    </a:lnTo>
                    <a:lnTo>
                      <a:pt x="983" y="1512"/>
                    </a:lnTo>
                    <a:lnTo>
                      <a:pt x="1020" y="1518"/>
                    </a:lnTo>
                    <a:lnTo>
                      <a:pt x="1058" y="1526"/>
                    </a:lnTo>
                    <a:lnTo>
                      <a:pt x="1094" y="1535"/>
                    </a:lnTo>
                    <a:lnTo>
                      <a:pt x="1131" y="1547"/>
                    </a:lnTo>
                    <a:lnTo>
                      <a:pt x="1167" y="1560"/>
                    </a:lnTo>
                    <a:lnTo>
                      <a:pt x="1203" y="1574"/>
                    </a:lnTo>
                    <a:lnTo>
                      <a:pt x="1237" y="1591"/>
                    </a:lnTo>
                    <a:lnTo>
                      <a:pt x="1270" y="1611"/>
                    </a:lnTo>
                    <a:lnTo>
                      <a:pt x="1303" y="1632"/>
                    </a:lnTo>
                    <a:lnTo>
                      <a:pt x="1333" y="1657"/>
                    </a:lnTo>
                    <a:lnTo>
                      <a:pt x="1362" y="1684"/>
                    </a:lnTo>
                    <a:lnTo>
                      <a:pt x="1388" y="1714"/>
                    </a:lnTo>
                    <a:lnTo>
                      <a:pt x="1414" y="1746"/>
                    </a:lnTo>
                    <a:lnTo>
                      <a:pt x="1436" y="1782"/>
                    </a:lnTo>
                    <a:lnTo>
                      <a:pt x="1457" y="1822"/>
                    </a:lnTo>
                    <a:lnTo>
                      <a:pt x="1474" y="1863"/>
                    </a:lnTo>
                    <a:lnTo>
                      <a:pt x="1489" y="1910"/>
                    </a:lnTo>
                    <a:lnTo>
                      <a:pt x="1500" y="1959"/>
                    </a:lnTo>
                    <a:lnTo>
                      <a:pt x="1510" y="2013"/>
                    </a:lnTo>
                    <a:lnTo>
                      <a:pt x="1515" y="2071"/>
                    </a:lnTo>
                    <a:lnTo>
                      <a:pt x="1517" y="2132"/>
                    </a:lnTo>
                    <a:lnTo>
                      <a:pt x="1515" y="2180"/>
                    </a:lnTo>
                    <a:lnTo>
                      <a:pt x="1508" y="2229"/>
                    </a:lnTo>
                    <a:lnTo>
                      <a:pt x="1497" y="2279"/>
                    </a:lnTo>
                    <a:lnTo>
                      <a:pt x="1482" y="2328"/>
                    </a:lnTo>
                    <a:lnTo>
                      <a:pt x="1463" y="2376"/>
                    </a:lnTo>
                    <a:lnTo>
                      <a:pt x="1439" y="2424"/>
                    </a:lnTo>
                    <a:lnTo>
                      <a:pt x="1413" y="2470"/>
                    </a:lnTo>
                    <a:lnTo>
                      <a:pt x="1382" y="2515"/>
                    </a:lnTo>
                    <a:lnTo>
                      <a:pt x="1347" y="2559"/>
                    </a:lnTo>
                    <a:lnTo>
                      <a:pt x="1310" y="2601"/>
                    </a:lnTo>
                    <a:lnTo>
                      <a:pt x="1268" y="2640"/>
                    </a:lnTo>
                    <a:lnTo>
                      <a:pt x="1224" y="2676"/>
                    </a:lnTo>
                    <a:lnTo>
                      <a:pt x="1176" y="2710"/>
                    </a:lnTo>
                    <a:lnTo>
                      <a:pt x="1125" y="2739"/>
                    </a:lnTo>
                    <a:lnTo>
                      <a:pt x="1070" y="2766"/>
                    </a:lnTo>
                    <a:lnTo>
                      <a:pt x="1014" y="2788"/>
                    </a:lnTo>
                    <a:lnTo>
                      <a:pt x="954" y="2806"/>
                    </a:lnTo>
                    <a:lnTo>
                      <a:pt x="891" y="2819"/>
                    </a:lnTo>
                    <a:lnTo>
                      <a:pt x="826" y="2827"/>
                    </a:lnTo>
                    <a:lnTo>
                      <a:pt x="758" y="2830"/>
                    </a:lnTo>
                    <a:lnTo>
                      <a:pt x="693" y="2828"/>
                    </a:lnTo>
                    <a:lnTo>
                      <a:pt x="629" y="2821"/>
                    </a:lnTo>
                    <a:lnTo>
                      <a:pt x="569" y="2809"/>
                    </a:lnTo>
                    <a:lnTo>
                      <a:pt x="513" y="2793"/>
                    </a:lnTo>
                    <a:lnTo>
                      <a:pt x="459" y="2773"/>
                    </a:lnTo>
                    <a:lnTo>
                      <a:pt x="409" y="2750"/>
                    </a:lnTo>
                    <a:lnTo>
                      <a:pt x="361" y="2723"/>
                    </a:lnTo>
                    <a:lnTo>
                      <a:pt x="316" y="2692"/>
                    </a:lnTo>
                    <a:lnTo>
                      <a:pt x="275" y="2660"/>
                    </a:lnTo>
                    <a:lnTo>
                      <a:pt x="237" y="2624"/>
                    </a:lnTo>
                    <a:lnTo>
                      <a:pt x="201" y="2586"/>
                    </a:lnTo>
                    <a:lnTo>
                      <a:pt x="168" y="2546"/>
                    </a:lnTo>
                    <a:lnTo>
                      <a:pt x="139" y="2503"/>
                    </a:lnTo>
                    <a:lnTo>
                      <a:pt x="112" y="2459"/>
                    </a:lnTo>
                    <a:lnTo>
                      <a:pt x="89" y="2414"/>
                    </a:lnTo>
                    <a:lnTo>
                      <a:pt x="67" y="2368"/>
                    </a:lnTo>
                    <a:lnTo>
                      <a:pt x="50" y="2321"/>
                    </a:lnTo>
                    <a:lnTo>
                      <a:pt x="35" y="2273"/>
                    </a:lnTo>
                    <a:lnTo>
                      <a:pt x="22" y="2224"/>
                    </a:lnTo>
                    <a:lnTo>
                      <a:pt x="12" y="2176"/>
                    </a:lnTo>
                    <a:lnTo>
                      <a:pt x="5" y="2128"/>
                    </a:lnTo>
                    <a:lnTo>
                      <a:pt x="1" y="2080"/>
                    </a:lnTo>
                    <a:lnTo>
                      <a:pt x="0" y="2032"/>
                    </a:lnTo>
                    <a:lnTo>
                      <a:pt x="1" y="1980"/>
                    </a:lnTo>
                    <a:lnTo>
                      <a:pt x="4" y="1929"/>
                    </a:lnTo>
                    <a:lnTo>
                      <a:pt x="10" y="1876"/>
                    </a:lnTo>
                    <a:lnTo>
                      <a:pt x="18" y="1822"/>
                    </a:lnTo>
                    <a:lnTo>
                      <a:pt x="29" y="1767"/>
                    </a:lnTo>
                    <a:lnTo>
                      <a:pt x="42" y="1711"/>
                    </a:lnTo>
                    <a:lnTo>
                      <a:pt x="58" y="1654"/>
                    </a:lnTo>
                    <a:lnTo>
                      <a:pt x="78" y="1595"/>
                    </a:lnTo>
                    <a:lnTo>
                      <a:pt x="99" y="1536"/>
                    </a:lnTo>
                    <a:lnTo>
                      <a:pt x="124" y="1476"/>
                    </a:lnTo>
                    <a:lnTo>
                      <a:pt x="152" y="1415"/>
                    </a:lnTo>
                    <a:lnTo>
                      <a:pt x="184" y="1352"/>
                    </a:lnTo>
                    <a:lnTo>
                      <a:pt x="218" y="1288"/>
                    </a:lnTo>
                    <a:lnTo>
                      <a:pt x="256" y="1222"/>
                    </a:lnTo>
                    <a:lnTo>
                      <a:pt x="298" y="1154"/>
                    </a:lnTo>
                    <a:lnTo>
                      <a:pt x="344" y="1085"/>
                    </a:lnTo>
                    <a:lnTo>
                      <a:pt x="393" y="1014"/>
                    </a:lnTo>
                    <a:lnTo>
                      <a:pt x="446" y="942"/>
                    </a:lnTo>
                    <a:lnTo>
                      <a:pt x="503" y="866"/>
                    </a:lnTo>
                    <a:lnTo>
                      <a:pt x="565" y="790"/>
                    </a:lnTo>
                    <a:lnTo>
                      <a:pt x="630" y="711"/>
                    </a:lnTo>
                    <a:lnTo>
                      <a:pt x="700" y="631"/>
                    </a:lnTo>
                    <a:lnTo>
                      <a:pt x="774" y="547"/>
                    </a:lnTo>
                    <a:lnTo>
                      <a:pt x="853" y="463"/>
                    </a:lnTo>
                    <a:lnTo>
                      <a:pt x="936" y="375"/>
                    </a:lnTo>
                    <a:lnTo>
                      <a:pt x="1024" y="285"/>
                    </a:lnTo>
                    <a:lnTo>
                      <a:pt x="1117" y="193"/>
                    </a:lnTo>
                    <a:lnTo>
                      <a:pt x="1215" y="97"/>
                    </a:lnTo>
                    <a:lnTo>
                      <a:pt x="1317" y="0"/>
                    </a:lnTo>
                    <a:close/>
                  </a:path>
                </a:pathLst>
              </a:custGeom>
              <a:solidFill>
                <a:schemeClr val="accent6"/>
              </a:solidFill>
              <a:ln w="0">
                <a:noFill/>
                <a:prstDash val="solid"/>
                <a:round/>
                <a:headEnd/>
                <a:tailEnd/>
              </a:ln>
            </p:spPr>
            <p:txBody>
              <a:bodyPr vert="horz" wrap="square" lIns="130629" tIns="65314" rIns="130629" bIns="65314" numCol="1" anchor="t" anchorCtr="0" compatLnSpc="1">
                <a:prstTxWarp prst="textNoShape">
                  <a:avLst/>
                </a:prstTxWarp>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0"/>
                  </a:spcBef>
                  <a:spcAft>
                    <a:spcPts val="0"/>
                  </a:spcAft>
                  <a:buClrTx/>
                  <a:buSzTx/>
                  <a:buFontTx/>
                  <a:buNone/>
                  <a:tabLst/>
                  <a:defRPr/>
                </a:pPr>
                <a:endParaRPr kumimoji="0" lang="en-US" sz="1857"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1733118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D86C88-6BFC-4E28-804A-76D1996B04C4}"/>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FE14C908-8C2C-4F77-AF54-E7A5440AEEA9}"/>
              </a:ext>
            </a:extLst>
          </p:cNvPr>
          <p:cNvSpPr>
            <a:spLocks noGrp="1"/>
          </p:cNvSpPr>
          <p:nvPr>
            <p:ph type="body" sz="quarter" idx="27"/>
          </p:nvPr>
        </p:nvSpPr>
        <p:spPr>
          <a:xfrm>
            <a:off x="8564880" y="5521437"/>
            <a:ext cx="3011550" cy="646331"/>
          </a:xfrm>
        </p:spPr>
        <p:txBody>
          <a:bodyPr/>
          <a:lstStyle/>
          <a:p>
            <a:r>
              <a:rPr lang="en-US" dirty="0">
                <a:cs typeface="Arial"/>
              </a:rPr>
              <a:t>Source: </a:t>
            </a:r>
            <a:r>
              <a:rPr lang="en-US" dirty="0">
                <a:cs typeface="Arial"/>
                <a:hlinkClick r:id="rId3"/>
              </a:rPr>
              <a:t>FACT SHEET: President Biden and Vice President Harris Reduce High-Speed Internet Costs for Millions of Americans</a:t>
            </a:r>
            <a:r>
              <a:rPr lang="en-US" dirty="0">
                <a:cs typeface="Arial"/>
              </a:rPr>
              <a:t>, The White House, May 09 2022; </a:t>
            </a:r>
            <a:r>
              <a:rPr lang="en-US" dirty="0">
                <a:cs typeface="Arial"/>
                <a:hlinkClick r:id="rId4"/>
              </a:rPr>
              <a:t>Biden-Harris Administration Provides $759 Million to Bring High-Speed Internet Access to Communities Across Rural America</a:t>
            </a:r>
            <a:r>
              <a:rPr lang="en-US" dirty="0">
                <a:cs typeface="Arial"/>
              </a:rPr>
              <a:t>, U.S. Department of Agriculture, October 27 2022</a:t>
            </a:r>
            <a:endParaRPr lang="en-US" dirty="0"/>
          </a:p>
        </p:txBody>
      </p:sp>
      <p:sp>
        <p:nvSpPr>
          <p:cNvPr id="4" name="Title 3">
            <a:extLst>
              <a:ext uri="{FF2B5EF4-FFF2-40B4-BE49-F238E27FC236}">
                <a16:creationId xmlns:a16="http://schemas.microsoft.com/office/drawing/2014/main" id="{BF8D5B75-FD79-42B3-AA7A-5F3505DCEF89}"/>
              </a:ext>
            </a:extLst>
          </p:cNvPr>
          <p:cNvSpPr>
            <a:spLocks noGrp="1"/>
          </p:cNvSpPr>
          <p:nvPr>
            <p:ph type="title"/>
          </p:nvPr>
        </p:nvSpPr>
        <p:spPr>
          <a:xfrm>
            <a:off x="612774" y="588771"/>
            <a:ext cx="10972801" cy="540917"/>
          </a:xfrm>
        </p:spPr>
        <p:txBody>
          <a:bodyPr/>
          <a:lstStyle/>
          <a:p>
            <a:r>
              <a:rPr lang="en-US"/>
              <a:t>Biden calls to revitalize digital infrastructure</a:t>
            </a:r>
          </a:p>
        </p:txBody>
      </p:sp>
      <p:sp>
        <p:nvSpPr>
          <p:cNvPr id="13" name="TextBox 12">
            <a:extLst>
              <a:ext uri="{FF2B5EF4-FFF2-40B4-BE49-F238E27FC236}">
                <a16:creationId xmlns:a16="http://schemas.microsoft.com/office/drawing/2014/main" id="{FAA91768-D204-4885-8B9C-6257ED7BE489}"/>
              </a:ext>
            </a:extLst>
          </p:cNvPr>
          <p:cNvSpPr txBox="1"/>
          <p:nvPr/>
        </p:nvSpPr>
        <p:spPr bwMode="gray">
          <a:xfrm>
            <a:off x="2852894" y="1983792"/>
            <a:ext cx="6486212" cy="246221"/>
          </a:xfrm>
          <a:prstGeom prst="rect">
            <a:avLst/>
          </a:prstGeom>
        </p:spPr>
        <p:txBody>
          <a:bodyPr vert="horz" wrap="square" lIns="0" tIns="0" rIns="0" bIns="0" rtlCol="0" anchor="t">
            <a:spAutoFit/>
          </a:bodyPr>
          <a:lstStyle/>
          <a:p>
            <a:pPr>
              <a:spcBef>
                <a:spcPts val="600"/>
              </a:spcBef>
            </a:pPr>
            <a:r>
              <a:rPr lang="en-US" sz="1600" b="1"/>
              <a:t>American Jobs Plan addresses broadband access and affordability</a:t>
            </a:r>
            <a:endParaRPr lang="en-US"/>
          </a:p>
        </p:txBody>
      </p:sp>
      <p:grpSp>
        <p:nvGrpSpPr>
          <p:cNvPr id="7" name="Group 6">
            <a:extLst>
              <a:ext uri="{FF2B5EF4-FFF2-40B4-BE49-F238E27FC236}">
                <a16:creationId xmlns:a16="http://schemas.microsoft.com/office/drawing/2014/main" id="{61E2F3C6-1B86-4BDA-BDBB-83C41A759ECB}"/>
              </a:ext>
            </a:extLst>
          </p:cNvPr>
          <p:cNvGrpSpPr/>
          <p:nvPr/>
        </p:nvGrpSpPr>
        <p:grpSpPr>
          <a:xfrm>
            <a:off x="2262642" y="2906393"/>
            <a:ext cx="3233384" cy="1825865"/>
            <a:chOff x="1090808" y="2388205"/>
            <a:chExt cx="2957303" cy="1425962"/>
          </a:xfrm>
        </p:grpSpPr>
        <p:sp>
          <p:nvSpPr>
            <p:cNvPr id="14" name="Freeform 35">
              <a:extLst>
                <a:ext uri="{FF2B5EF4-FFF2-40B4-BE49-F238E27FC236}">
                  <a16:creationId xmlns:a16="http://schemas.microsoft.com/office/drawing/2014/main" id="{8B36B6A8-238A-4D1F-8BE1-B31467E4178E}"/>
                </a:ext>
              </a:extLst>
            </p:cNvPr>
            <p:cNvSpPr/>
            <p:nvPr/>
          </p:nvSpPr>
          <p:spPr bwMode="gray">
            <a:xfrm>
              <a:off x="1090808" y="2388205"/>
              <a:ext cx="2957303" cy="1198494"/>
            </a:xfrm>
            <a:custGeom>
              <a:avLst/>
              <a:gdLst>
                <a:gd name="connsiteX0" fmla="*/ 0 w 1715445"/>
                <a:gd name="connsiteY0" fmla="*/ 0 h 2108410"/>
                <a:gd name="connsiteX1" fmla="*/ 1715445 w 1715445"/>
                <a:gd name="connsiteY1" fmla="*/ 0 h 2108410"/>
                <a:gd name="connsiteX2" fmla="*/ 1715445 w 1715445"/>
                <a:gd name="connsiteY2" fmla="*/ 2108410 h 2108410"/>
                <a:gd name="connsiteX3" fmla="*/ 0 w 1715445"/>
                <a:gd name="connsiteY3" fmla="*/ 2108410 h 2108410"/>
                <a:gd name="connsiteX4" fmla="*/ 0 w 1715445"/>
                <a:gd name="connsiteY4" fmla="*/ 0 h 2108410"/>
                <a:gd name="connsiteX0" fmla="*/ 0 w 1715445"/>
                <a:gd name="connsiteY0" fmla="*/ 0 h 2108410"/>
                <a:gd name="connsiteX1" fmla="*/ 1715445 w 1715445"/>
                <a:gd name="connsiteY1" fmla="*/ 0 h 2108410"/>
                <a:gd name="connsiteX2" fmla="*/ 1715445 w 1715445"/>
                <a:gd name="connsiteY2" fmla="*/ 2108410 h 2108410"/>
                <a:gd name="connsiteX3" fmla="*/ 75571 w 1715445"/>
                <a:gd name="connsiteY3" fmla="*/ 2108410 h 2108410"/>
                <a:gd name="connsiteX4" fmla="*/ 0 w 1715445"/>
                <a:gd name="connsiteY4" fmla="*/ 2108410 h 2108410"/>
                <a:gd name="connsiteX5" fmla="*/ 0 w 1715445"/>
                <a:gd name="connsiteY5"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75571 w 1715445"/>
                <a:gd name="connsiteY4" fmla="*/ 2108410 h 2108410"/>
                <a:gd name="connsiteX5" fmla="*/ 0 w 1715445"/>
                <a:gd name="connsiteY5" fmla="*/ 2108410 h 2108410"/>
                <a:gd name="connsiteX6" fmla="*/ 0 w 1715445"/>
                <a:gd name="connsiteY6"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226711 w 1715445"/>
                <a:gd name="connsiteY4" fmla="*/ 2108410 h 2108410"/>
                <a:gd name="connsiteX5" fmla="*/ 75571 w 1715445"/>
                <a:gd name="connsiteY5" fmla="*/ 2108410 h 2108410"/>
                <a:gd name="connsiteX6" fmla="*/ 0 w 1715445"/>
                <a:gd name="connsiteY6" fmla="*/ 2108410 h 2108410"/>
                <a:gd name="connsiteX7" fmla="*/ 0 w 1715445"/>
                <a:gd name="connsiteY7"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226711 w 1715445"/>
                <a:gd name="connsiteY5" fmla="*/ 2108410 h 2108410"/>
                <a:gd name="connsiteX6" fmla="*/ 75571 w 1715445"/>
                <a:gd name="connsiteY6" fmla="*/ 2108410 h 2108410"/>
                <a:gd name="connsiteX7" fmla="*/ 0 w 1715445"/>
                <a:gd name="connsiteY7" fmla="*/ 2108410 h 2108410"/>
                <a:gd name="connsiteX8" fmla="*/ 0 w 1715445"/>
                <a:gd name="connsiteY8"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370294 w 1715445"/>
                <a:gd name="connsiteY5" fmla="*/ 2108410 h 2108410"/>
                <a:gd name="connsiteX6" fmla="*/ 226711 w 1715445"/>
                <a:gd name="connsiteY6" fmla="*/ 2108410 h 2108410"/>
                <a:gd name="connsiteX7" fmla="*/ 75571 w 1715445"/>
                <a:gd name="connsiteY7" fmla="*/ 2108410 h 2108410"/>
                <a:gd name="connsiteX8" fmla="*/ 0 w 1715445"/>
                <a:gd name="connsiteY8" fmla="*/ 2108410 h 2108410"/>
                <a:gd name="connsiteX9" fmla="*/ 0 w 1715445"/>
                <a:gd name="connsiteY9"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370294 w 1715445"/>
                <a:gd name="connsiteY6" fmla="*/ 2108410 h 2108410"/>
                <a:gd name="connsiteX7" fmla="*/ 226711 w 1715445"/>
                <a:gd name="connsiteY7" fmla="*/ 2108410 h 2108410"/>
                <a:gd name="connsiteX8" fmla="*/ 75571 w 1715445"/>
                <a:gd name="connsiteY8" fmla="*/ 2108410 h 2108410"/>
                <a:gd name="connsiteX9" fmla="*/ 0 w 1715445"/>
                <a:gd name="connsiteY9" fmla="*/ 2108410 h 2108410"/>
                <a:gd name="connsiteX10" fmla="*/ 0 w 1715445"/>
                <a:gd name="connsiteY10"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521435 w 1715445"/>
                <a:gd name="connsiteY6" fmla="*/ 2108410 h 2108410"/>
                <a:gd name="connsiteX7" fmla="*/ 370294 w 1715445"/>
                <a:gd name="connsiteY7" fmla="*/ 2108410 h 2108410"/>
                <a:gd name="connsiteX8" fmla="*/ 226711 w 1715445"/>
                <a:gd name="connsiteY8" fmla="*/ 2108410 h 2108410"/>
                <a:gd name="connsiteX9" fmla="*/ 75571 w 1715445"/>
                <a:gd name="connsiteY9" fmla="*/ 2108410 h 2108410"/>
                <a:gd name="connsiteX10" fmla="*/ 0 w 1715445"/>
                <a:gd name="connsiteY10" fmla="*/ 2108410 h 2108410"/>
                <a:gd name="connsiteX11" fmla="*/ 0 w 1715445"/>
                <a:gd name="connsiteY11"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808602 w 1715445"/>
                <a:gd name="connsiteY6" fmla="*/ 2108410 h 2108410"/>
                <a:gd name="connsiteX7" fmla="*/ 521435 w 1715445"/>
                <a:gd name="connsiteY7" fmla="*/ 2108410 h 2108410"/>
                <a:gd name="connsiteX8" fmla="*/ 370294 w 1715445"/>
                <a:gd name="connsiteY8" fmla="*/ 2108410 h 2108410"/>
                <a:gd name="connsiteX9" fmla="*/ 226711 w 1715445"/>
                <a:gd name="connsiteY9" fmla="*/ 2108410 h 2108410"/>
                <a:gd name="connsiteX10" fmla="*/ 75571 w 1715445"/>
                <a:gd name="connsiteY10" fmla="*/ 2108410 h 2108410"/>
                <a:gd name="connsiteX11" fmla="*/ 0 w 1715445"/>
                <a:gd name="connsiteY11" fmla="*/ 2108410 h 2108410"/>
                <a:gd name="connsiteX12" fmla="*/ 0 w 1715445"/>
                <a:gd name="connsiteY12"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808602 w 1715445"/>
                <a:gd name="connsiteY6" fmla="*/ 2108410 h 2108410"/>
                <a:gd name="connsiteX7" fmla="*/ 521435 w 1715445"/>
                <a:gd name="connsiteY7" fmla="*/ 2108410 h 2108410"/>
                <a:gd name="connsiteX8" fmla="*/ 370294 w 1715445"/>
                <a:gd name="connsiteY8" fmla="*/ 2108410 h 2108410"/>
                <a:gd name="connsiteX9" fmla="*/ 226711 w 1715445"/>
                <a:gd name="connsiteY9" fmla="*/ 2108410 h 2108410"/>
                <a:gd name="connsiteX10" fmla="*/ 75571 w 1715445"/>
                <a:gd name="connsiteY10" fmla="*/ 2108410 h 2108410"/>
                <a:gd name="connsiteX11" fmla="*/ 0 w 1715445"/>
                <a:gd name="connsiteY11" fmla="*/ 2108410 h 2108410"/>
                <a:gd name="connsiteX12" fmla="*/ 0 w 1715445"/>
                <a:gd name="connsiteY12" fmla="*/ 0 h 2108410"/>
                <a:gd name="connsiteX0" fmla="*/ 0 w 1715445"/>
                <a:gd name="connsiteY0" fmla="*/ 0 h 2172805"/>
                <a:gd name="connsiteX1" fmla="*/ 1715445 w 1715445"/>
                <a:gd name="connsiteY1" fmla="*/ 0 h 2172805"/>
                <a:gd name="connsiteX2" fmla="*/ 1715445 w 1715445"/>
                <a:gd name="connsiteY2" fmla="*/ 2108410 h 2172805"/>
                <a:gd name="connsiteX3" fmla="*/ 1541633 w 1715445"/>
                <a:gd name="connsiteY3" fmla="*/ 2100853 h 2172805"/>
                <a:gd name="connsiteX4" fmla="*/ 1254466 w 1715445"/>
                <a:gd name="connsiteY4" fmla="*/ 2100853 h 2172805"/>
                <a:gd name="connsiteX5" fmla="*/ 1035313 w 1715445"/>
                <a:gd name="connsiteY5" fmla="*/ 2108410 h 2172805"/>
                <a:gd name="connsiteX6" fmla="*/ 808602 w 1715445"/>
                <a:gd name="connsiteY6" fmla="*/ 2108410 h 2172805"/>
                <a:gd name="connsiteX7" fmla="*/ 521435 w 1715445"/>
                <a:gd name="connsiteY7" fmla="*/ 2108410 h 2172805"/>
                <a:gd name="connsiteX8" fmla="*/ 370294 w 1715445"/>
                <a:gd name="connsiteY8" fmla="*/ 2108410 h 2172805"/>
                <a:gd name="connsiteX9" fmla="*/ 226711 w 1715445"/>
                <a:gd name="connsiteY9" fmla="*/ 2108410 h 2172805"/>
                <a:gd name="connsiteX10" fmla="*/ 75571 w 1715445"/>
                <a:gd name="connsiteY10" fmla="*/ 2172805 h 2172805"/>
                <a:gd name="connsiteX11" fmla="*/ 0 w 1715445"/>
                <a:gd name="connsiteY11" fmla="*/ 2108410 h 2172805"/>
                <a:gd name="connsiteX12" fmla="*/ 0 w 1715445"/>
                <a:gd name="connsiteY12" fmla="*/ 0 h 2172805"/>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1035313 w 1715445"/>
                <a:gd name="connsiteY5" fmla="*/ 2108410 h 2189976"/>
                <a:gd name="connsiteX6" fmla="*/ 808602 w 1715445"/>
                <a:gd name="connsiteY6" fmla="*/ 2108410 h 2189976"/>
                <a:gd name="connsiteX7" fmla="*/ 521435 w 1715445"/>
                <a:gd name="connsiteY7" fmla="*/ 2108410 h 2189976"/>
                <a:gd name="connsiteX8" fmla="*/ 370294 w 1715445"/>
                <a:gd name="connsiteY8" fmla="*/ 2189976 h 2189976"/>
                <a:gd name="connsiteX9" fmla="*/ 226711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1035313 w 1715445"/>
                <a:gd name="connsiteY5" fmla="*/ 2108410 h 2189976"/>
                <a:gd name="connsiteX6" fmla="*/ 808602 w 1715445"/>
                <a:gd name="connsiteY6" fmla="*/ 2108410 h 2189976"/>
                <a:gd name="connsiteX7" fmla="*/ 521435 w 1715445"/>
                <a:gd name="connsiteY7" fmla="*/ 2108410 h 2189976"/>
                <a:gd name="connsiteX8" fmla="*/ 370294 w 1715445"/>
                <a:gd name="connsiteY8" fmla="*/ 2189976 h 2189976"/>
                <a:gd name="connsiteX9" fmla="*/ 158024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1035313 w 1715445"/>
                <a:gd name="connsiteY5" fmla="*/ 2108410 h 2189976"/>
                <a:gd name="connsiteX6" fmla="*/ 606833 w 1715445"/>
                <a:gd name="connsiteY6" fmla="*/ 2164219 h 2189976"/>
                <a:gd name="connsiteX7" fmla="*/ 521435 w 1715445"/>
                <a:gd name="connsiteY7" fmla="*/ 2108410 h 2189976"/>
                <a:gd name="connsiteX8" fmla="*/ 370294 w 1715445"/>
                <a:gd name="connsiteY8" fmla="*/ 2189976 h 2189976"/>
                <a:gd name="connsiteX9" fmla="*/ 158024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803493 w 1715445"/>
                <a:gd name="connsiteY5" fmla="*/ 2108410 h 2189976"/>
                <a:gd name="connsiteX6" fmla="*/ 606833 w 1715445"/>
                <a:gd name="connsiteY6" fmla="*/ 2164219 h 2189976"/>
                <a:gd name="connsiteX7" fmla="*/ 521435 w 1715445"/>
                <a:gd name="connsiteY7" fmla="*/ 2108410 h 2189976"/>
                <a:gd name="connsiteX8" fmla="*/ 370294 w 1715445"/>
                <a:gd name="connsiteY8" fmla="*/ 2189976 h 2189976"/>
                <a:gd name="connsiteX9" fmla="*/ 158024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992631 w 1715445"/>
                <a:gd name="connsiteY5" fmla="*/ 2103300 h 2189976"/>
                <a:gd name="connsiteX6" fmla="*/ 803493 w 1715445"/>
                <a:gd name="connsiteY6" fmla="*/ 2108410 h 2189976"/>
                <a:gd name="connsiteX7" fmla="*/ 606833 w 1715445"/>
                <a:gd name="connsiteY7" fmla="*/ 2164219 h 2189976"/>
                <a:gd name="connsiteX8" fmla="*/ 521435 w 1715445"/>
                <a:gd name="connsiteY8" fmla="*/ 2108410 h 2189976"/>
                <a:gd name="connsiteX9" fmla="*/ 370294 w 1715445"/>
                <a:gd name="connsiteY9" fmla="*/ 2189976 h 2189976"/>
                <a:gd name="connsiteX10" fmla="*/ 158024 w 1715445"/>
                <a:gd name="connsiteY10" fmla="*/ 2108410 h 2189976"/>
                <a:gd name="connsiteX11" fmla="*/ 75571 w 1715445"/>
                <a:gd name="connsiteY11" fmla="*/ 2172805 h 2189976"/>
                <a:gd name="connsiteX12" fmla="*/ 0 w 1715445"/>
                <a:gd name="connsiteY12" fmla="*/ 2108410 h 2189976"/>
                <a:gd name="connsiteX13" fmla="*/ 0 w 1715445"/>
                <a:gd name="connsiteY13"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434806 w 1715445"/>
                <a:gd name="connsiteY4" fmla="*/ 2099007 h 2189976"/>
                <a:gd name="connsiteX5" fmla="*/ 1254466 w 1715445"/>
                <a:gd name="connsiteY5" fmla="*/ 2100853 h 2189976"/>
                <a:gd name="connsiteX6" fmla="*/ 992631 w 1715445"/>
                <a:gd name="connsiteY6" fmla="*/ 2103300 h 2189976"/>
                <a:gd name="connsiteX7" fmla="*/ 803493 w 1715445"/>
                <a:gd name="connsiteY7" fmla="*/ 2108410 h 2189976"/>
                <a:gd name="connsiteX8" fmla="*/ 606833 w 1715445"/>
                <a:gd name="connsiteY8" fmla="*/ 2164219 h 2189976"/>
                <a:gd name="connsiteX9" fmla="*/ 521435 w 1715445"/>
                <a:gd name="connsiteY9" fmla="*/ 2108410 h 2189976"/>
                <a:gd name="connsiteX10" fmla="*/ 370294 w 1715445"/>
                <a:gd name="connsiteY10" fmla="*/ 2189976 h 2189976"/>
                <a:gd name="connsiteX11" fmla="*/ 158024 w 1715445"/>
                <a:gd name="connsiteY11" fmla="*/ 2108410 h 2189976"/>
                <a:gd name="connsiteX12" fmla="*/ 75571 w 1715445"/>
                <a:gd name="connsiteY12" fmla="*/ 2172805 h 2189976"/>
                <a:gd name="connsiteX13" fmla="*/ 0 w 1715445"/>
                <a:gd name="connsiteY13" fmla="*/ 2108410 h 2189976"/>
                <a:gd name="connsiteX14" fmla="*/ 0 w 1715445"/>
                <a:gd name="connsiteY14"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254466 w 1715445"/>
                <a:gd name="connsiteY5" fmla="*/ 2100853 h 2189976"/>
                <a:gd name="connsiteX6" fmla="*/ 992631 w 1715445"/>
                <a:gd name="connsiteY6" fmla="*/ 2103300 h 2189976"/>
                <a:gd name="connsiteX7" fmla="*/ 803493 w 1715445"/>
                <a:gd name="connsiteY7" fmla="*/ 2108410 h 2189976"/>
                <a:gd name="connsiteX8" fmla="*/ 606833 w 1715445"/>
                <a:gd name="connsiteY8" fmla="*/ 2164219 h 2189976"/>
                <a:gd name="connsiteX9" fmla="*/ 521435 w 1715445"/>
                <a:gd name="connsiteY9" fmla="*/ 2108410 h 2189976"/>
                <a:gd name="connsiteX10" fmla="*/ 370294 w 1715445"/>
                <a:gd name="connsiteY10" fmla="*/ 2189976 h 2189976"/>
                <a:gd name="connsiteX11" fmla="*/ 158024 w 1715445"/>
                <a:gd name="connsiteY11" fmla="*/ 2108410 h 2189976"/>
                <a:gd name="connsiteX12" fmla="*/ 75571 w 1715445"/>
                <a:gd name="connsiteY12" fmla="*/ 2172805 h 2189976"/>
                <a:gd name="connsiteX13" fmla="*/ 0 w 1715445"/>
                <a:gd name="connsiteY13" fmla="*/ 2108410 h 2189976"/>
                <a:gd name="connsiteX14" fmla="*/ 0 w 1715445"/>
                <a:gd name="connsiteY14"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168607 w 1715445"/>
                <a:gd name="connsiteY5" fmla="*/ 2165248 h 2189976"/>
                <a:gd name="connsiteX6" fmla="*/ 992631 w 1715445"/>
                <a:gd name="connsiteY6" fmla="*/ 2103300 h 2189976"/>
                <a:gd name="connsiteX7" fmla="*/ 803493 w 1715445"/>
                <a:gd name="connsiteY7" fmla="*/ 2108410 h 2189976"/>
                <a:gd name="connsiteX8" fmla="*/ 606833 w 1715445"/>
                <a:gd name="connsiteY8" fmla="*/ 2164219 h 2189976"/>
                <a:gd name="connsiteX9" fmla="*/ 521435 w 1715445"/>
                <a:gd name="connsiteY9" fmla="*/ 2108410 h 2189976"/>
                <a:gd name="connsiteX10" fmla="*/ 370294 w 1715445"/>
                <a:gd name="connsiteY10" fmla="*/ 2189976 h 2189976"/>
                <a:gd name="connsiteX11" fmla="*/ 158024 w 1715445"/>
                <a:gd name="connsiteY11" fmla="*/ 2108410 h 2189976"/>
                <a:gd name="connsiteX12" fmla="*/ 75571 w 1715445"/>
                <a:gd name="connsiteY12" fmla="*/ 2172805 h 2189976"/>
                <a:gd name="connsiteX13" fmla="*/ 0 w 1715445"/>
                <a:gd name="connsiteY13" fmla="*/ 2108410 h 2189976"/>
                <a:gd name="connsiteX14" fmla="*/ 0 w 1715445"/>
                <a:gd name="connsiteY14"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168607 w 1715445"/>
                <a:gd name="connsiteY5" fmla="*/ 2165248 h 2189976"/>
                <a:gd name="connsiteX6" fmla="*/ 992631 w 1715445"/>
                <a:gd name="connsiteY6" fmla="*/ 2103300 h 2189976"/>
                <a:gd name="connsiteX7" fmla="*/ 872429 w 1715445"/>
                <a:gd name="connsiteY7" fmla="*/ 2103300 h 2189976"/>
                <a:gd name="connsiteX8" fmla="*/ 803493 w 1715445"/>
                <a:gd name="connsiteY8" fmla="*/ 2108410 h 2189976"/>
                <a:gd name="connsiteX9" fmla="*/ 606833 w 1715445"/>
                <a:gd name="connsiteY9" fmla="*/ 2164219 h 2189976"/>
                <a:gd name="connsiteX10" fmla="*/ 521435 w 1715445"/>
                <a:gd name="connsiteY10" fmla="*/ 2108410 h 2189976"/>
                <a:gd name="connsiteX11" fmla="*/ 370294 w 1715445"/>
                <a:gd name="connsiteY11" fmla="*/ 2189976 h 2189976"/>
                <a:gd name="connsiteX12" fmla="*/ 158024 w 1715445"/>
                <a:gd name="connsiteY12" fmla="*/ 2108410 h 2189976"/>
                <a:gd name="connsiteX13" fmla="*/ 75571 w 1715445"/>
                <a:gd name="connsiteY13" fmla="*/ 2172805 h 2189976"/>
                <a:gd name="connsiteX14" fmla="*/ 0 w 1715445"/>
                <a:gd name="connsiteY14" fmla="*/ 2108410 h 2189976"/>
                <a:gd name="connsiteX15" fmla="*/ 0 w 1715445"/>
                <a:gd name="connsiteY15"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168607 w 1715445"/>
                <a:gd name="connsiteY5" fmla="*/ 2165248 h 2189976"/>
                <a:gd name="connsiteX6" fmla="*/ 992631 w 1715445"/>
                <a:gd name="connsiteY6" fmla="*/ 2103300 h 2189976"/>
                <a:gd name="connsiteX7" fmla="*/ 932530 w 1715445"/>
                <a:gd name="connsiteY7" fmla="*/ 2180574 h 2189976"/>
                <a:gd name="connsiteX8" fmla="*/ 803493 w 1715445"/>
                <a:gd name="connsiteY8" fmla="*/ 2108410 h 2189976"/>
                <a:gd name="connsiteX9" fmla="*/ 606833 w 1715445"/>
                <a:gd name="connsiteY9" fmla="*/ 2164219 h 2189976"/>
                <a:gd name="connsiteX10" fmla="*/ 521435 w 1715445"/>
                <a:gd name="connsiteY10" fmla="*/ 2108410 h 2189976"/>
                <a:gd name="connsiteX11" fmla="*/ 370294 w 1715445"/>
                <a:gd name="connsiteY11" fmla="*/ 2189976 h 2189976"/>
                <a:gd name="connsiteX12" fmla="*/ 158024 w 1715445"/>
                <a:gd name="connsiteY12" fmla="*/ 2108410 h 2189976"/>
                <a:gd name="connsiteX13" fmla="*/ 75571 w 1715445"/>
                <a:gd name="connsiteY13" fmla="*/ 2172805 h 2189976"/>
                <a:gd name="connsiteX14" fmla="*/ 0 w 1715445"/>
                <a:gd name="connsiteY14" fmla="*/ 2108410 h 2189976"/>
                <a:gd name="connsiteX15" fmla="*/ 0 w 1715445"/>
                <a:gd name="connsiteY15" fmla="*/ 0 h 2189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5445" h="2189976">
                  <a:moveTo>
                    <a:pt x="0" y="0"/>
                  </a:moveTo>
                  <a:lnTo>
                    <a:pt x="1715445" y="0"/>
                  </a:lnTo>
                  <a:lnTo>
                    <a:pt x="1715445" y="2108410"/>
                  </a:lnTo>
                  <a:lnTo>
                    <a:pt x="1541633" y="2160955"/>
                  </a:lnTo>
                  <a:lnTo>
                    <a:pt x="1434806" y="2099007"/>
                  </a:lnTo>
                  <a:lnTo>
                    <a:pt x="1168607" y="2165248"/>
                  </a:lnTo>
                  <a:lnTo>
                    <a:pt x="992631" y="2103300"/>
                  </a:lnTo>
                  <a:lnTo>
                    <a:pt x="932530" y="2180574"/>
                  </a:lnTo>
                  <a:lnTo>
                    <a:pt x="803493" y="2108410"/>
                  </a:lnTo>
                  <a:lnTo>
                    <a:pt x="606833" y="2164219"/>
                  </a:lnTo>
                  <a:lnTo>
                    <a:pt x="521435" y="2108410"/>
                  </a:lnTo>
                  <a:lnTo>
                    <a:pt x="370294" y="2189976"/>
                  </a:lnTo>
                  <a:lnTo>
                    <a:pt x="158024" y="2108410"/>
                  </a:lnTo>
                  <a:lnTo>
                    <a:pt x="75571" y="2172805"/>
                  </a:lnTo>
                  <a:lnTo>
                    <a:pt x="0" y="2108410"/>
                  </a:lnTo>
                  <a:lnTo>
                    <a:pt x="0" y="0"/>
                  </a:lnTo>
                  <a:close/>
                </a:path>
              </a:pathLst>
            </a:custGeom>
            <a:solidFill>
              <a:schemeClr val="bg1"/>
            </a:solidFill>
            <a:ln w="6350" cap="flat" cmpd="sng" algn="ctr">
              <a:solidFill>
                <a:schemeClr val="tx1"/>
              </a:solidFill>
              <a:prstDash val="solid"/>
              <a:miter lim="800000"/>
              <a:headEnd type="none" w="med" len="med"/>
              <a:tailEnd type="none" w="med" len="med"/>
            </a:ln>
            <a:effectLst/>
          </p:spPr>
          <p:txBody>
            <a:bodyPr vert="horz" wrap="square" lIns="45720" tIns="45720" rIns="45720" bIns="45720" numCol="1" rtlCol="0" anchor="t" anchorCtr="0" compatLnSpc="1">
              <a:prstTxWarp prst="textNoShape">
                <a:avLst/>
              </a:prstTxWarp>
              <a:noAutofit/>
            </a:bodyPr>
            <a:lstStyle/>
            <a:p>
              <a:pPr>
                <a:spcBef>
                  <a:spcPts val="600"/>
                </a:spcBef>
                <a:buClr>
                  <a:schemeClr val="accent6"/>
                </a:buClr>
              </a:pPr>
              <a:endParaRPr lang="en-US" sz="800" i="1" dirty="0"/>
            </a:p>
          </p:txBody>
        </p:sp>
        <p:sp>
          <p:nvSpPr>
            <p:cNvPr id="15" name="Rectangle 14">
              <a:extLst>
                <a:ext uri="{FF2B5EF4-FFF2-40B4-BE49-F238E27FC236}">
                  <a16:creationId xmlns:a16="http://schemas.microsoft.com/office/drawing/2014/main" id="{F6FE5B19-0AD5-4144-89DE-07D9AC0F93A6}"/>
                </a:ext>
              </a:extLst>
            </p:cNvPr>
            <p:cNvSpPr/>
            <p:nvPr/>
          </p:nvSpPr>
          <p:spPr>
            <a:xfrm>
              <a:off x="1169193" y="2429172"/>
              <a:ext cx="2878918" cy="1384995"/>
            </a:xfrm>
            <a:prstGeom prst="rect">
              <a:avLst/>
            </a:prstGeom>
          </p:spPr>
          <p:txBody>
            <a:bodyPr wrap="square" lIns="91440" tIns="45720" rIns="91440" bIns="45720" anchor="t">
              <a:spAutoFit/>
            </a:bodyPr>
            <a:lstStyle/>
            <a:p>
              <a:pPr>
                <a:spcBef>
                  <a:spcPts val="600"/>
                </a:spcBef>
                <a:buClr>
                  <a:schemeClr val="accent6"/>
                </a:buClr>
              </a:pPr>
              <a:r>
                <a:rPr lang="en-US" sz="1600" dirty="0">
                  <a:latin typeface="+mj-lt"/>
                </a:rPr>
                <a:t>“a historic $65 billion to expand reliable, affordable, high-speed internet to all communities across the U.S.” </a:t>
              </a:r>
            </a:p>
            <a:p>
              <a:pPr>
                <a:spcBef>
                  <a:spcPts val="600"/>
                </a:spcBef>
              </a:pPr>
              <a:r>
                <a:rPr lang="en-US" sz="1500" i="1" dirty="0"/>
                <a:t>U.S. Department of Agriculture</a:t>
              </a:r>
              <a:endParaRPr lang="en-US" sz="1500" dirty="0"/>
            </a:p>
          </p:txBody>
        </p:sp>
      </p:grpSp>
      <p:sp>
        <p:nvSpPr>
          <p:cNvPr id="18" name="Line Callout 1 (No Border) 25">
            <a:extLst>
              <a:ext uri="{FF2B5EF4-FFF2-40B4-BE49-F238E27FC236}">
                <a16:creationId xmlns:a16="http://schemas.microsoft.com/office/drawing/2014/main" id="{E0D6DC1A-2D84-4F80-8ED9-EAE646A2B7C0}"/>
              </a:ext>
            </a:extLst>
          </p:cNvPr>
          <p:cNvSpPr/>
          <p:nvPr/>
        </p:nvSpPr>
        <p:spPr bwMode="gray">
          <a:xfrm>
            <a:off x="6084668" y="2532682"/>
            <a:ext cx="4679929" cy="2257761"/>
          </a:xfrm>
          <a:custGeom>
            <a:avLst/>
            <a:gdLst>
              <a:gd name="connsiteX0" fmla="*/ 0 w 2481943"/>
              <a:gd name="connsiteY0" fmla="*/ 0 h 818173"/>
              <a:gd name="connsiteX1" fmla="*/ 2481943 w 2481943"/>
              <a:gd name="connsiteY1" fmla="*/ 0 h 818173"/>
              <a:gd name="connsiteX2" fmla="*/ 2481943 w 2481943"/>
              <a:gd name="connsiteY2" fmla="*/ 818173 h 818173"/>
              <a:gd name="connsiteX3" fmla="*/ 0 w 2481943"/>
              <a:gd name="connsiteY3" fmla="*/ 818173 h 818173"/>
              <a:gd name="connsiteX4" fmla="*/ 0 w 2481943"/>
              <a:gd name="connsiteY4" fmla="*/ 0 h 818173"/>
              <a:gd name="connsiteX0" fmla="*/ 17597 w 2481943"/>
              <a:gd name="connsiteY0" fmla="*/ -425 h 818173"/>
              <a:gd name="connsiteX1" fmla="*/ 17473 w 2481943"/>
              <a:gd name="connsiteY1" fmla="*/ 818238 h 818173"/>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9174 w 2483520"/>
              <a:gd name="connsiteY0" fmla="*/ 0 h 818663"/>
              <a:gd name="connsiteX1" fmla="*/ 0 w 2483520"/>
              <a:gd name="connsiteY1" fmla="*/ 818663 h 818663"/>
              <a:gd name="connsiteX0" fmla="*/ 1577 w 2483520"/>
              <a:gd name="connsiteY0" fmla="*/ 5187 h 823425"/>
              <a:gd name="connsiteX1" fmla="*/ 2483520 w 2483520"/>
              <a:gd name="connsiteY1" fmla="*/ 5187 h 823425"/>
              <a:gd name="connsiteX2" fmla="*/ 2483520 w 2483520"/>
              <a:gd name="connsiteY2" fmla="*/ 823360 h 823425"/>
              <a:gd name="connsiteX3" fmla="*/ 1577 w 2483520"/>
              <a:gd name="connsiteY3" fmla="*/ 823360 h 823425"/>
              <a:gd name="connsiteX4" fmla="*/ 1577 w 2483520"/>
              <a:gd name="connsiteY4" fmla="*/ 5187 h 823425"/>
              <a:gd name="connsiteX0" fmla="*/ 2505 w 2483520"/>
              <a:gd name="connsiteY0" fmla="*/ 0 h 823425"/>
              <a:gd name="connsiteX1" fmla="*/ 0 w 2483520"/>
              <a:gd name="connsiteY1" fmla="*/ 823425 h 823425"/>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2505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24 w 2483520"/>
              <a:gd name="connsiteY0" fmla="*/ 0 h 818663"/>
              <a:gd name="connsiteX1" fmla="*/ 0 w 2483520"/>
              <a:gd name="connsiteY1" fmla="*/ 818663 h 818663"/>
            </a:gdLst>
            <a:ahLst/>
            <a:cxnLst>
              <a:cxn ang="0">
                <a:pos x="connsiteX0" y="connsiteY0"/>
              </a:cxn>
              <a:cxn ang="0">
                <a:pos x="connsiteX1" y="connsiteY1"/>
              </a:cxn>
            </a:cxnLst>
            <a:rect l="l" t="t" r="r" b="b"/>
            <a:pathLst>
              <a:path w="2483520" h="818663" stroke="0" extrusionOk="0">
                <a:moveTo>
                  <a:pt x="1577" y="425"/>
                </a:moveTo>
                <a:lnTo>
                  <a:pt x="2483520" y="425"/>
                </a:lnTo>
                <a:lnTo>
                  <a:pt x="2483520" y="818598"/>
                </a:lnTo>
                <a:lnTo>
                  <a:pt x="1577" y="818598"/>
                </a:lnTo>
                <a:lnTo>
                  <a:pt x="1577" y="425"/>
                </a:lnTo>
                <a:close/>
              </a:path>
              <a:path w="2483520" h="818663" fill="none" extrusionOk="0">
                <a:moveTo>
                  <a:pt x="124" y="0"/>
                </a:moveTo>
                <a:cubicBezTo>
                  <a:pt x="83" y="272888"/>
                  <a:pt x="41" y="545775"/>
                  <a:pt x="0" y="818663"/>
                </a:cubicBezTo>
              </a:path>
            </a:pathLst>
          </a:custGeom>
          <a:solidFill>
            <a:schemeClr val="bg2"/>
          </a:solidFill>
          <a:ln w="508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195943" rIns="195943" bIns="195943" numCol="1" spcCol="0" rtlCol="0" fromWordArt="0" anchor="t" anchorCtr="0" forceAA="0" compatLnSpc="1">
            <a:prstTxWarp prst="textNoShape">
              <a:avLst/>
            </a:prstTxWarp>
            <a:spAutoFit/>
          </a:bodyPr>
          <a:lstStyle/>
          <a:p>
            <a:pPr>
              <a:spcBef>
                <a:spcPts val="600"/>
              </a:spcBef>
            </a:pPr>
            <a:r>
              <a:rPr lang="en-US" sz="1600" b="1">
                <a:solidFill>
                  <a:schemeClr val="accent5"/>
                </a:solidFill>
                <a:cs typeface="Arial"/>
              </a:rPr>
              <a:t>Three areas of focus within the plan</a:t>
            </a:r>
            <a:endParaRPr lang="en-US">
              <a:solidFill>
                <a:schemeClr val="accent5"/>
              </a:solidFill>
            </a:endParaRPr>
          </a:p>
          <a:p>
            <a:pPr marL="173355" indent="-173355">
              <a:spcBef>
                <a:spcPts val="600"/>
              </a:spcBef>
              <a:buAutoNum type="arabicPeriod"/>
            </a:pPr>
            <a:r>
              <a:rPr lang="en-US" sz="1500">
                <a:solidFill>
                  <a:schemeClr val="accent5"/>
                </a:solidFill>
                <a:cs typeface="Arial"/>
              </a:rPr>
              <a:t>Build high-speed broadband infrastructure to reach 100% coverage</a:t>
            </a:r>
          </a:p>
          <a:p>
            <a:pPr marL="173355" indent="-173355">
              <a:spcBef>
                <a:spcPts val="600"/>
              </a:spcBef>
              <a:buAutoNum type="arabicPeriod"/>
            </a:pPr>
            <a:r>
              <a:rPr lang="en-US" sz="1500">
                <a:solidFill>
                  <a:schemeClr val="accent5"/>
                </a:solidFill>
                <a:cs typeface="Arial"/>
              </a:rPr>
              <a:t>Promote transparency and competition among internet providers</a:t>
            </a:r>
          </a:p>
          <a:p>
            <a:pPr marL="173355" indent="-173355">
              <a:spcBef>
                <a:spcPts val="600"/>
              </a:spcBef>
              <a:buAutoNum type="arabicPeriod"/>
            </a:pPr>
            <a:r>
              <a:rPr lang="en-US" sz="1500">
                <a:solidFill>
                  <a:schemeClr val="accent5"/>
                </a:solidFill>
                <a:cs typeface="Arial"/>
              </a:rPr>
              <a:t>Reduce the cost of broadband internet service and promote more widespread adoption</a:t>
            </a:r>
            <a:endParaRPr lang="en-US" sz="1600">
              <a:solidFill>
                <a:schemeClr val="accent5"/>
              </a:solidFill>
              <a:cs typeface="Arial"/>
            </a:endParaRPr>
          </a:p>
        </p:txBody>
      </p:sp>
    </p:spTree>
    <p:extLst>
      <p:ext uri="{BB962C8B-B14F-4D97-AF65-F5344CB8AC3E}">
        <p14:creationId xmlns:p14="http://schemas.microsoft.com/office/powerpoint/2010/main" val="452938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EE0C2E-D43C-4A61-BB6B-9217756CACCB}"/>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0569CCF0-14EB-4429-A230-06CFFB6B3D94}"/>
              </a:ext>
            </a:extLst>
          </p:cNvPr>
          <p:cNvSpPr>
            <a:spLocks noGrp="1"/>
          </p:cNvSpPr>
          <p:nvPr>
            <p:ph type="body" sz="quarter" idx="27"/>
          </p:nvPr>
        </p:nvSpPr>
        <p:spPr>
          <a:xfrm>
            <a:off x="8521471" y="5939439"/>
            <a:ext cx="3057754" cy="215444"/>
          </a:xfrm>
        </p:spPr>
        <p:txBody>
          <a:bodyPr/>
          <a:lstStyle/>
          <a:p>
            <a:r>
              <a:rPr lang="en-US"/>
              <a:t>Source: Sieck C, </a:t>
            </a:r>
            <a:r>
              <a:rPr lang="en-US" err="1"/>
              <a:t>Sheon</a:t>
            </a:r>
            <a:r>
              <a:rPr lang="en-US"/>
              <a:t> A, </a:t>
            </a:r>
            <a:r>
              <a:rPr lang="en-US" err="1"/>
              <a:t>Ancker</a:t>
            </a:r>
            <a:r>
              <a:rPr lang="en-US"/>
              <a:t> J, </a:t>
            </a:r>
            <a:r>
              <a:rPr lang="en-US" err="1"/>
              <a:t>Castek</a:t>
            </a:r>
            <a:r>
              <a:rPr lang="en-US"/>
              <a:t> J, Callahan B and </a:t>
            </a:r>
            <a:r>
              <a:rPr lang="en-US" err="1"/>
              <a:t>Siefer</a:t>
            </a:r>
            <a:r>
              <a:rPr lang="en-US"/>
              <a:t> A, “</a:t>
            </a:r>
            <a:r>
              <a:rPr lang="en-US">
                <a:hlinkClick r:id="rId3"/>
              </a:rPr>
              <a:t>Digital inclusion as a social determinant of health</a:t>
            </a:r>
            <a:r>
              <a:rPr lang="en-US"/>
              <a:t>,” March 17, 2021, </a:t>
            </a:r>
            <a:r>
              <a:rPr lang="en-US" i="1"/>
              <a:t>Nature</a:t>
            </a:r>
            <a:r>
              <a:rPr lang="en-US"/>
              <a:t>. </a:t>
            </a:r>
          </a:p>
        </p:txBody>
      </p:sp>
      <p:sp>
        <p:nvSpPr>
          <p:cNvPr id="4" name="Title 3">
            <a:extLst>
              <a:ext uri="{FF2B5EF4-FFF2-40B4-BE49-F238E27FC236}">
                <a16:creationId xmlns:a16="http://schemas.microsoft.com/office/drawing/2014/main" id="{22B12337-CA2F-4692-AC07-EF2C2A78210F}"/>
              </a:ext>
            </a:extLst>
          </p:cNvPr>
          <p:cNvSpPr>
            <a:spLocks noGrp="1"/>
          </p:cNvSpPr>
          <p:nvPr>
            <p:ph type="title"/>
          </p:nvPr>
        </p:nvSpPr>
        <p:spPr>
          <a:xfrm>
            <a:off x="612774" y="588771"/>
            <a:ext cx="10966451" cy="540917"/>
          </a:xfrm>
        </p:spPr>
        <p:txBody>
          <a:bodyPr/>
          <a:lstStyle/>
          <a:p>
            <a:r>
              <a:rPr lang="en-US"/>
              <a:t>Without adoption, access is moot</a:t>
            </a:r>
          </a:p>
        </p:txBody>
      </p:sp>
      <p:sp>
        <p:nvSpPr>
          <p:cNvPr id="20" name="TextBox 19">
            <a:extLst>
              <a:ext uri="{FF2B5EF4-FFF2-40B4-BE49-F238E27FC236}">
                <a16:creationId xmlns:a16="http://schemas.microsoft.com/office/drawing/2014/main" id="{39DADB77-1AAF-45CC-A214-3317D166BB04}"/>
              </a:ext>
            </a:extLst>
          </p:cNvPr>
          <p:cNvSpPr txBox="1"/>
          <p:nvPr/>
        </p:nvSpPr>
        <p:spPr bwMode="gray">
          <a:xfrm>
            <a:off x="6604000" y="-899886"/>
            <a:ext cx="2497660" cy="692497"/>
          </a:xfrm>
          <a:prstGeom prst="rect">
            <a:avLst/>
          </a:prstGeom>
        </p:spPr>
        <p:txBody>
          <a:bodyPr vert="horz" wrap="square" lIns="0" tIns="0" rIns="0" bIns="0" rtlCol="0">
            <a:spAutoFit/>
          </a:bodyPr>
          <a:lstStyle/>
          <a:p>
            <a:pPr>
              <a:spcBef>
                <a:spcPts val="600"/>
              </a:spcBef>
              <a:buClr>
                <a:schemeClr val="accent6"/>
              </a:buClr>
            </a:pPr>
            <a:r>
              <a:rPr lang="en-US" sz="1500"/>
              <a:t>Switch DA and DL (or put them on the right) – reuse on slide 11 </a:t>
            </a:r>
            <a:endParaRPr lang="en-US" sz="1500" err="1"/>
          </a:p>
        </p:txBody>
      </p:sp>
      <p:grpSp>
        <p:nvGrpSpPr>
          <p:cNvPr id="28" name="Group 27">
            <a:extLst>
              <a:ext uri="{FF2B5EF4-FFF2-40B4-BE49-F238E27FC236}">
                <a16:creationId xmlns:a16="http://schemas.microsoft.com/office/drawing/2014/main" id="{F1BDFFEA-AFA9-4EC1-AF19-F548B178C6DB}"/>
              </a:ext>
            </a:extLst>
          </p:cNvPr>
          <p:cNvGrpSpPr/>
          <p:nvPr/>
        </p:nvGrpSpPr>
        <p:grpSpPr>
          <a:xfrm>
            <a:off x="5576876" y="3391432"/>
            <a:ext cx="1054172" cy="1054172"/>
            <a:chOff x="3285782" y="3570022"/>
            <a:chExt cx="1054172" cy="1054172"/>
          </a:xfrm>
        </p:grpSpPr>
        <p:sp>
          <p:nvSpPr>
            <p:cNvPr id="32" name="Oval 31">
              <a:extLst>
                <a:ext uri="{FF2B5EF4-FFF2-40B4-BE49-F238E27FC236}">
                  <a16:creationId xmlns:a16="http://schemas.microsoft.com/office/drawing/2014/main" id="{8D9F87BA-17EC-42D7-A690-AC9E65BB6C7B}"/>
                </a:ext>
              </a:extLst>
            </p:cNvPr>
            <p:cNvSpPr>
              <a:spLocks noChangeAspect="1"/>
            </p:cNvSpPr>
            <p:nvPr/>
          </p:nvSpPr>
          <p:spPr bwMode="gray">
            <a:xfrm>
              <a:off x="3285782" y="3570022"/>
              <a:ext cx="1054172" cy="1054172"/>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32"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3" name="Picture 32">
              <a:extLst>
                <a:ext uri="{FF2B5EF4-FFF2-40B4-BE49-F238E27FC236}">
                  <a16:creationId xmlns:a16="http://schemas.microsoft.com/office/drawing/2014/main" id="{6049491B-FDC5-4E14-9A33-06EAF247BC4C}"/>
                </a:ext>
              </a:extLst>
            </p:cNvPr>
            <p:cNvPicPr>
              <a:picLocks noChangeAspect="1"/>
            </p:cNvPicPr>
            <p:nvPr/>
          </p:nvPicPr>
          <p:blipFill>
            <a:blip r:embed="rId4"/>
            <a:srcRect/>
            <a:stretch/>
          </p:blipFill>
          <p:spPr>
            <a:xfrm>
              <a:off x="3474834" y="3817485"/>
              <a:ext cx="676070" cy="559247"/>
            </a:xfrm>
            <a:prstGeom prst="rect">
              <a:avLst/>
            </a:prstGeom>
          </p:spPr>
        </p:pic>
      </p:grpSp>
      <p:cxnSp>
        <p:nvCxnSpPr>
          <p:cNvPr id="34" name="Straight Connector 33">
            <a:extLst>
              <a:ext uri="{FF2B5EF4-FFF2-40B4-BE49-F238E27FC236}">
                <a16:creationId xmlns:a16="http://schemas.microsoft.com/office/drawing/2014/main" id="{F8A2BE97-61BB-4046-A2FE-5D7E2BE16A9F}"/>
              </a:ext>
            </a:extLst>
          </p:cNvPr>
          <p:cNvCxnSpPr>
            <a:cxnSpLocks/>
          </p:cNvCxnSpPr>
          <p:nvPr/>
        </p:nvCxnSpPr>
        <p:spPr bwMode="gray">
          <a:xfrm flipV="1">
            <a:off x="6732147" y="3197884"/>
            <a:ext cx="656076"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C1499E9-B409-4376-985D-ACD4ADCD6453}"/>
              </a:ext>
            </a:extLst>
          </p:cNvPr>
          <p:cNvCxnSpPr>
            <a:cxnSpLocks/>
          </p:cNvCxnSpPr>
          <p:nvPr/>
        </p:nvCxnSpPr>
        <p:spPr bwMode="gray">
          <a:xfrm>
            <a:off x="6687997" y="4278199"/>
            <a:ext cx="656076"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F6CF17-977B-4E55-87E7-7E05718E4DE8}"/>
              </a:ext>
            </a:extLst>
          </p:cNvPr>
          <p:cNvCxnSpPr>
            <a:cxnSpLocks/>
          </p:cNvCxnSpPr>
          <p:nvPr/>
        </p:nvCxnSpPr>
        <p:spPr bwMode="gray">
          <a:xfrm flipH="1">
            <a:off x="4844085" y="4278199"/>
            <a:ext cx="653907"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7E1A65B-EA0C-4347-BCFE-167B882B4E8E}"/>
              </a:ext>
            </a:extLst>
          </p:cNvPr>
          <p:cNvCxnSpPr>
            <a:cxnSpLocks/>
          </p:cNvCxnSpPr>
          <p:nvPr/>
        </p:nvCxnSpPr>
        <p:spPr bwMode="gray">
          <a:xfrm flipH="1" flipV="1">
            <a:off x="4835351" y="3196040"/>
            <a:ext cx="656076" cy="329882"/>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6CF5EF4-DD1C-4F39-952D-AD3E65693697}"/>
              </a:ext>
            </a:extLst>
          </p:cNvPr>
          <p:cNvCxnSpPr>
            <a:cxnSpLocks/>
          </p:cNvCxnSpPr>
          <p:nvPr/>
        </p:nvCxnSpPr>
        <p:spPr bwMode="gray">
          <a:xfrm flipH="1">
            <a:off x="6104300" y="4594560"/>
            <a:ext cx="0" cy="656076"/>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64C3D07-8A8B-4EED-9DEE-02477A34587B}"/>
              </a:ext>
            </a:extLst>
          </p:cNvPr>
          <p:cNvSpPr txBox="1"/>
          <p:nvPr/>
        </p:nvSpPr>
        <p:spPr bwMode="gray">
          <a:xfrm>
            <a:off x="3001507" y="2961497"/>
            <a:ext cx="1784720" cy="46166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41"/>
              </a:spcBef>
              <a:spcAft>
                <a:spcPts val="0"/>
              </a:spcAft>
              <a:buClr>
                <a:srgbClr val="CE0E2D"/>
              </a:buClr>
              <a:buSzTx/>
              <a:buFontTx/>
              <a:buNone/>
              <a:tabLst/>
              <a:defRPr/>
            </a:pPr>
            <a:r>
              <a:rPr kumimoji="0" lang="en-US" sz="1500" i="0" u="none" strike="noStrike" kern="1200" cap="none" spc="0" normalizeH="0" baseline="0" noProof="0">
                <a:ln>
                  <a:noFill/>
                </a:ln>
                <a:solidFill>
                  <a:schemeClr val="accent2"/>
                </a:solidFill>
                <a:effectLst/>
                <a:uLnTx/>
                <a:uFillTx/>
                <a:latin typeface="Arial" panose="020B0604020202020204"/>
                <a:ea typeface="+mn-ea"/>
                <a:cs typeface="+mn-cs"/>
              </a:rPr>
              <a:t>Broadband connectivity </a:t>
            </a:r>
          </a:p>
        </p:txBody>
      </p:sp>
      <p:cxnSp>
        <p:nvCxnSpPr>
          <p:cNvPr id="40" name="Straight Connector 39">
            <a:extLst>
              <a:ext uri="{FF2B5EF4-FFF2-40B4-BE49-F238E27FC236}">
                <a16:creationId xmlns:a16="http://schemas.microsoft.com/office/drawing/2014/main" id="{35ED579C-04CB-4522-A413-C409E982650C}"/>
              </a:ext>
            </a:extLst>
          </p:cNvPr>
          <p:cNvCxnSpPr>
            <a:cxnSpLocks/>
          </p:cNvCxnSpPr>
          <p:nvPr/>
        </p:nvCxnSpPr>
        <p:spPr bwMode="gray">
          <a:xfrm flipH="1">
            <a:off x="6103962" y="2464532"/>
            <a:ext cx="338" cy="656076"/>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D0FB70A-8C07-4969-8D11-E1CAC93F7BBE}"/>
              </a:ext>
            </a:extLst>
          </p:cNvPr>
          <p:cNvSpPr txBox="1"/>
          <p:nvPr/>
        </p:nvSpPr>
        <p:spPr bwMode="gray">
          <a:xfrm>
            <a:off x="3390925" y="4539267"/>
            <a:ext cx="1395302" cy="2308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41"/>
              </a:spcBef>
              <a:spcAft>
                <a:spcPts val="0"/>
              </a:spcAft>
              <a:buClr>
                <a:srgbClr val="CE0E2D"/>
              </a:buClr>
              <a:buSzTx/>
              <a:buFontTx/>
              <a:buNone/>
              <a:tabLst/>
              <a:defRPr/>
            </a:pPr>
            <a:r>
              <a:rPr kumimoji="0" lang="en-US" sz="1500" i="0" u="none" strike="noStrike" kern="1200" cap="none" spc="0" normalizeH="0" baseline="0" noProof="0">
                <a:ln>
                  <a:noFill/>
                </a:ln>
                <a:solidFill>
                  <a:schemeClr val="accent2"/>
                </a:solidFill>
                <a:effectLst/>
                <a:uLnTx/>
                <a:uFillTx/>
                <a:latin typeface="Arial" panose="020B0604020202020204"/>
                <a:ea typeface="+mn-ea"/>
                <a:cs typeface="+mn-cs"/>
              </a:rPr>
              <a:t>Device access</a:t>
            </a:r>
          </a:p>
        </p:txBody>
      </p:sp>
      <p:sp>
        <p:nvSpPr>
          <p:cNvPr id="42" name="TextBox 41">
            <a:extLst>
              <a:ext uri="{FF2B5EF4-FFF2-40B4-BE49-F238E27FC236}">
                <a16:creationId xmlns:a16="http://schemas.microsoft.com/office/drawing/2014/main" id="{C02935B0-77D8-463B-8516-8847679208F7}"/>
              </a:ext>
            </a:extLst>
          </p:cNvPr>
          <p:cNvSpPr txBox="1"/>
          <p:nvPr/>
        </p:nvSpPr>
        <p:spPr bwMode="gray">
          <a:xfrm>
            <a:off x="5149884" y="2205842"/>
            <a:ext cx="1892231"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500" b="1" i="0" u="none" strike="noStrike" kern="1200" cap="none" spc="0" normalizeH="0" baseline="0" noProof="0">
                <a:ln>
                  <a:noFill/>
                </a:ln>
                <a:effectLst/>
                <a:uLnTx/>
                <a:uFillTx/>
                <a:latin typeface="Arial" panose="020B0604020202020204"/>
                <a:ea typeface="+mn-ea"/>
                <a:cs typeface="+mn-cs"/>
              </a:rPr>
              <a:t>Trust</a:t>
            </a:r>
          </a:p>
        </p:txBody>
      </p:sp>
      <p:sp>
        <p:nvSpPr>
          <p:cNvPr id="43" name="TextBox 42">
            <a:extLst>
              <a:ext uri="{FF2B5EF4-FFF2-40B4-BE49-F238E27FC236}">
                <a16:creationId xmlns:a16="http://schemas.microsoft.com/office/drawing/2014/main" id="{FF29D2BE-79E6-405F-85AE-C65969938B59}"/>
              </a:ext>
            </a:extLst>
          </p:cNvPr>
          <p:cNvSpPr txBox="1"/>
          <p:nvPr/>
        </p:nvSpPr>
        <p:spPr bwMode="gray">
          <a:xfrm>
            <a:off x="7437347" y="2961497"/>
            <a:ext cx="1851730" cy="230832"/>
          </a:xfrm>
          <a:prstGeom prst="rect">
            <a:avLst/>
          </a:prstGeom>
          <a:noFill/>
        </p:spPr>
        <p:txBody>
          <a:bodyPr wrap="square" lIns="0" tIns="0" rIns="0" bIns="0" rtlCol="0">
            <a:spAutoFit/>
          </a:bodyPr>
          <a:lstStyle/>
          <a:p>
            <a:pPr lvl="0">
              <a:spcBef>
                <a:spcPts val="341"/>
              </a:spcBef>
              <a:buClr>
                <a:srgbClr val="CE0E2D"/>
              </a:buClr>
              <a:defRPr/>
            </a:pPr>
            <a:r>
              <a:rPr lang="en-US" sz="1500" b="1"/>
              <a:t>Digital literacy	</a:t>
            </a:r>
          </a:p>
        </p:txBody>
      </p:sp>
      <p:sp>
        <p:nvSpPr>
          <p:cNvPr id="44" name="TextBox 43">
            <a:extLst>
              <a:ext uri="{FF2B5EF4-FFF2-40B4-BE49-F238E27FC236}">
                <a16:creationId xmlns:a16="http://schemas.microsoft.com/office/drawing/2014/main" id="{EDA82EA3-E0B3-427D-BFF1-C045D7860A53}"/>
              </a:ext>
            </a:extLst>
          </p:cNvPr>
          <p:cNvSpPr txBox="1"/>
          <p:nvPr/>
        </p:nvSpPr>
        <p:spPr bwMode="gray">
          <a:xfrm>
            <a:off x="5301543" y="5262155"/>
            <a:ext cx="1620487"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500" b="0" i="0" u="none" strike="noStrike" kern="1200" cap="none" spc="0" normalizeH="0" baseline="0" noProof="0">
                <a:ln>
                  <a:noFill/>
                </a:ln>
                <a:solidFill>
                  <a:schemeClr val="accent2"/>
                </a:solidFill>
                <a:effectLst/>
                <a:uLnTx/>
                <a:uFillTx/>
                <a:latin typeface="Arial" panose="020B0604020202020204"/>
                <a:ea typeface="+mn-ea"/>
                <a:cs typeface="+mn-cs"/>
              </a:rPr>
              <a:t>Affordability</a:t>
            </a:r>
          </a:p>
        </p:txBody>
      </p:sp>
      <p:sp>
        <p:nvSpPr>
          <p:cNvPr id="45" name="TextBox 44">
            <a:extLst>
              <a:ext uri="{FF2B5EF4-FFF2-40B4-BE49-F238E27FC236}">
                <a16:creationId xmlns:a16="http://schemas.microsoft.com/office/drawing/2014/main" id="{3AD5B667-7AA5-40F1-9624-3927E110957C}"/>
              </a:ext>
            </a:extLst>
          </p:cNvPr>
          <p:cNvSpPr txBox="1"/>
          <p:nvPr/>
        </p:nvSpPr>
        <p:spPr bwMode="gray">
          <a:xfrm>
            <a:off x="7437347" y="4539267"/>
            <a:ext cx="1325509"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41"/>
              </a:spcBef>
              <a:spcAft>
                <a:spcPts val="0"/>
              </a:spcAft>
              <a:buClr>
                <a:srgbClr val="CE0E2D"/>
              </a:buClr>
              <a:buSzTx/>
              <a:buFontTx/>
              <a:buNone/>
              <a:tabLst/>
              <a:defRPr/>
            </a:pPr>
            <a:r>
              <a:rPr lang="en-US" sz="1500" b="1">
                <a:latin typeface="Arial" panose="020B0604020202020204"/>
              </a:rPr>
              <a:t>UX Accessibility</a:t>
            </a:r>
            <a:endParaRPr kumimoji="0" lang="en-US" sz="1500" b="1" i="0" u="none" strike="sngStrike" kern="1200" cap="none" spc="0" normalizeH="0" baseline="0" noProof="0">
              <a:ln>
                <a:noFill/>
              </a:ln>
              <a:effectLst/>
              <a:uLnTx/>
              <a:uFillTx/>
              <a:latin typeface="Arial" panose="020B0604020202020204"/>
            </a:endParaRPr>
          </a:p>
        </p:txBody>
      </p:sp>
      <p:sp>
        <p:nvSpPr>
          <p:cNvPr id="49" name="TextBox 48">
            <a:extLst>
              <a:ext uri="{FF2B5EF4-FFF2-40B4-BE49-F238E27FC236}">
                <a16:creationId xmlns:a16="http://schemas.microsoft.com/office/drawing/2014/main" id="{59648B4D-9AEB-4B24-8F53-7D39FA3E2403}"/>
              </a:ext>
            </a:extLst>
          </p:cNvPr>
          <p:cNvSpPr txBox="1"/>
          <p:nvPr/>
        </p:nvSpPr>
        <p:spPr bwMode="gray">
          <a:xfrm>
            <a:off x="612773" y="1756885"/>
            <a:ext cx="6202496"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Elements of digital inequity </a:t>
            </a:r>
          </a:p>
        </p:txBody>
      </p:sp>
    </p:spTree>
    <p:extLst>
      <p:ext uri="{BB962C8B-B14F-4D97-AF65-F5344CB8AC3E}">
        <p14:creationId xmlns:p14="http://schemas.microsoft.com/office/powerpoint/2010/main" val="1474080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5557D511-D4DA-4E68-8D46-54D0B9D10411}"/>
              </a:ext>
            </a:extLst>
          </p:cNvPr>
          <p:cNvSpPr>
            <a:spLocks noGrp="1"/>
          </p:cNvSpPr>
          <p:nvPr>
            <p:ph type="body" sz="quarter" idx="28"/>
          </p:nvPr>
        </p:nvSpPr>
        <p:spPr>
          <a:xfrm>
            <a:off x="612773" y="6060046"/>
            <a:ext cx="3657600" cy="107722"/>
          </a:xfrm>
        </p:spPr>
        <p:txBody>
          <a:bodyPr/>
          <a:lstStyle/>
          <a:p>
            <a:r>
              <a:rPr lang="en-US"/>
              <a:t>University of Vermont</a:t>
            </a:r>
          </a:p>
        </p:txBody>
      </p:sp>
      <p:sp>
        <p:nvSpPr>
          <p:cNvPr id="14" name="Text Placeholder 13">
            <a:extLst>
              <a:ext uri="{FF2B5EF4-FFF2-40B4-BE49-F238E27FC236}">
                <a16:creationId xmlns:a16="http://schemas.microsoft.com/office/drawing/2014/main" id="{0CF1B97C-1104-45BC-BAE8-8417A5799DA0}"/>
              </a:ext>
            </a:extLst>
          </p:cNvPr>
          <p:cNvSpPr>
            <a:spLocks noGrp="1"/>
          </p:cNvSpPr>
          <p:nvPr>
            <p:ph type="body" sz="quarter" idx="27"/>
          </p:nvPr>
        </p:nvSpPr>
        <p:spPr>
          <a:xfrm>
            <a:off x="8809022" y="5952324"/>
            <a:ext cx="2767408" cy="215444"/>
          </a:xfrm>
        </p:spPr>
        <p:txBody>
          <a:bodyPr/>
          <a:lstStyle/>
          <a:p>
            <a:r>
              <a:rPr lang="en-US"/>
              <a:t>Source: Digital literacy,</a:t>
            </a:r>
            <a:r>
              <a:rPr lang="en-US">
                <a:hlinkClick r:id="rId3"/>
              </a:rPr>
              <a:t> American Library Association</a:t>
            </a:r>
            <a:r>
              <a:rPr lang="en-US"/>
              <a:t>; Covid-19 Healthcare Coalition, </a:t>
            </a:r>
            <a:r>
              <a:rPr lang="en-US" i="1">
                <a:hlinkClick r:id="rId4"/>
              </a:rPr>
              <a:t>Telehealth Impact: Physician Survey Analysis</a:t>
            </a:r>
            <a:r>
              <a:rPr lang="en-US">
                <a:hlinkClick r:id="rId4"/>
              </a:rPr>
              <a:t>.</a:t>
            </a:r>
            <a:r>
              <a:rPr lang="en-US"/>
              <a:t>  </a:t>
            </a:r>
          </a:p>
        </p:txBody>
      </p:sp>
      <p:sp>
        <p:nvSpPr>
          <p:cNvPr id="13" name="Title 12">
            <a:extLst>
              <a:ext uri="{FF2B5EF4-FFF2-40B4-BE49-F238E27FC236}">
                <a16:creationId xmlns:a16="http://schemas.microsoft.com/office/drawing/2014/main" id="{3AE334DD-71A8-41BE-B76E-3A0F7508B816}"/>
              </a:ext>
            </a:extLst>
          </p:cNvPr>
          <p:cNvSpPr>
            <a:spLocks noGrp="1"/>
          </p:cNvSpPr>
          <p:nvPr>
            <p:ph type="title"/>
          </p:nvPr>
        </p:nvSpPr>
        <p:spPr>
          <a:xfrm>
            <a:off x="612774" y="588771"/>
            <a:ext cx="10972801" cy="540917"/>
          </a:xfrm>
        </p:spPr>
        <p:txBody>
          <a:bodyPr/>
          <a:lstStyle/>
          <a:p>
            <a:r>
              <a:rPr lang="en-US"/>
              <a:t>Tech is foundational, but literacy is a true limiting step</a:t>
            </a:r>
          </a:p>
        </p:txBody>
      </p:sp>
      <p:grpSp>
        <p:nvGrpSpPr>
          <p:cNvPr id="12" name="Group 11">
            <a:extLst>
              <a:ext uri="{FF2B5EF4-FFF2-40B4-BE49-F238E27FC236}">
                <a16:creationId xmlns:a16="http://schemas.microsoft.com/office/drawing/2014/main" id="{770BA628-0E0D-47FD-A38B-714DF9A86F97}"/>
              </a:ext>
            </a:extLst>
          </p:cNvPr>
          <p:cNvGrpSpPr/>
          <p:nvPr/>
        </p:nvGrpSpPr>
        <p:grpSpPr>
          <a:xfrm>
            <a:off x="1806259" y="2453779"/>
            <a:ext cx="4267200" cy="2666752"/>
            <a:chOff x="1720850" y="2453779"/>
            <a:chExt cx="4267200" cy="2666752"/>
          </a:xfrm>
        </p:grpSpPr>
        <p:sp>
          <p:nvSpPr>
            <p:cNvPr id="3" name="TextBox 2">
              <a:extLst>
                <a:ext uri="{FF2B5EF4-FFF2-40B4-BE49-F238E27FC236}">
                  <a16:creationId xmlns:a16="http://schemas.microsoft.com/office/drawing/2014/main" id="{98DE94E3-BC7E-4CB9-AD72-FE499B46B2FB}"/>
                </a:ext>
              </a:extLst>
            </p:cNvPr>
            <p:cNvSpPr txBox="1"/>
            <p:nvPr/>
          </p:nvSpPr>
          <p:spPr bwMode="gray">
            <a:xfrm>
              <a:off x="1720850" y="2453779"/>
              <a:ext cx="4267200" cy="221599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The ability to use information and communication technologies to find, evaluate, create, and communicate information, requiring both cognitive and technical skills.</a:t>
              </a:r>
            </a:p>
          </p:txBody>
        </p:sp>
        <p:sp>
          <p:nvSpPr>
            <p:cNvPr id="4" name="TextBox 3">
              <a:extLst>
                <a:ext uri="{FF2B5EF4-FFF2-40B4-BE49-F238E27FC236}">
                  <a16:creationId xmlns:a16="http://schemas.microsoft.com/office/drawing/2014/main" id="{C95D821F-5914-494C-9DBE-8816EE37EE39}"/>
                </a:ext>
              </a:extLst>
            </p:cNvPr>
            <p:cNvSpPr txBox="1"/>
            <p:nvPr/>
          </p:nvSpPr>
          <p:spPr bwMode="gray">
            <a:xfrm>
              <a:off x="3448050" y="4935865"/>
              <a:ext cx="2540000" cy="184666"/>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200" b="0" i="0" u="none" strike="noStrike" kern="1200" cap="none" spc="0" normalizeH="0" baseline="0" noProof="0">
                  <a:ln>
                    <a:noFill/>
                  </a:ln>
                  <a:solidFill>
                    <a:srgbClr val="323E48"/>
                  </a:solidFill>
                  <a:effectLst/>
                  <a:uLnTx/>
                  <a:uFillTx/>
                  <a:latin typeface="Arial" panose="020B0604020202020204"/>
                  <a:ea typeface="+mn-ea"/>
                  <a:cs typeface="+mn-cs"/>
                </a:rPr>
                <a:t>American Library Association</a:t>
              </a:r>
            </a:p>
          </p:txBody>
        </p:sp>
      </p:grpSp>
      <p:grpSp>
        <p:nvGrpSpPr>
          <p:cNvPr id="30" name="Group 29">
            <a:extLst>
              <a:ext uri="{FF2B5EF4-FFF2-40B4-BE49-F238E27FC236}">
                <a16:creationId xmlns:a16="http://schemas.microsoft.com/office/drawing/2014/main" id="{806DB227-858E-431D-94C0-F5F117A474CF}"/>
              </a:ext>
            </a:extLst>
          </p:cNvPr>
          <p:cNvGrpSpPr/>
          <p:nvPr/>
        </p:nvGrpSpPr>
        <p:grpSpPr>
          <a:xfrm>
            <a:off x="6893537" y="2505670"/>
            <a:ext cx="4117143" cy="2308325"/>
            <a:chOff x="7307882" y="2684787"/>
            <a:chExt cx="4117143" cy="2308325"/>
          </a:xfrm>
        </p:grpSpPr>
        <p:sp>
          <p:nvSpPr>
            <p:cNvPr id="31" name="Oval 30">
              <a:extLst>
                <a:ext uri="{FF2B5EF4-FFF2-40B4-BE49-F238E27FC236}">
                  <a16:creationId xmlns:a16="http://schemas.microsoft.com/office/drawing/2014/main" id="{A91BF8B0-F552-4637-ACB3-12822029E9A4}"/>
                </a:ext>
              </a:extLst>
            </p:cNvPr>
            <p:cNvSpPr/>
            <p:nvPr/>
          </p:nvSpPr>
          <p:spPr bwMode="gray">
            <a:xfrm>
              <a:off x="7307882" y="2821715"/>
              <a:ext cx="1333500" cy="1333500"/>
            </a:xfrm>
            <a:prstGeom prst="ellipse">
              <a:avLst/>
            </a:prstGeom>
            <a:solidFill>
              <a:schemeClr val="accent5"/>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4428311B-3E57-43AC-A8BE-A52EAC4A2A40}"/>
                </a:ext>
              </a:extLst>
            </p:cNvPr>
            <p:cNvSpPr txBox="1"/>
            <p:nvPr/>
          </p:nvSpPr>
          <p:spPr bwMode="gray">
            <a:xfrm>
              <a:off x="8885025" y="2684787"/>
              <a:ext cx="168202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CE0E2D"/>
                  </a:solidFill>
                  <a:effectLst/>
                  <a:uLnTx/>
                  <a:uFillTx/>
                  <a:latin typeface="Times New Roman" panose="02020603050405020304"/>
                  <a:ea typeface="+mn-ea"/>
                  <a:cs typeface="+mn-cs"/>
                </a:rPr>
                <a:t>#2</a:t>
              </a:r>
            </a:p>
          </p:txBody>
        </p:sp>
        <p:sp>
          <p:nvSpPr>
            <p:cNvPr id="33" name="TextBox 32">
              <a:extLst>
                <a:ext uri="{FF2B5EF4-FFF2-40B4-BE49-F238E27FC236}">
                  <a16:creationId xmlns:a16="http://schemas.microsoft.com/office/drawing/2014/main" id="{66A7F541-4431-48D9-8C06-B7F2BFF42C2B}"/>
                </a:ext>
              </a:extLst>
            </p:cNvPr>
            <p:cNvSpPr txBox="1"/>
            <p:nvPr/>
          </p:nvSpPr>
          <p:spPr bwMode="gray">
            <a:xfrm>
              <a:off x="8885025" y="3608117"/>
              <a:ext cx="2540000" cy="1384995"/>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Physicians identify “low digital literacy” as second biggest issue preventing patients from using telehealth, </a:t>
              </a:r>
              <a:b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b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behind only “lack of access to technology”</a:t>
              </a:r>
            </a:p>
          </p:txBody>
        </p:sp>
        <p:pic>
          <p:nvPicPr>
            <p:cNvPr id="34" name="Picture 33">
              <a:extLst>
                <a:ext uri="{FF2B5EF4-FFF2-40B4-BE49-F238E27FC236}">
                  <a16:creationId xmlns:a16="http://schemas.microsoft.com/office/drawing/2014/main" id="{A3FCAFC0-D8EE-465A-A3EC-3E831F12FC19}"/>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rcRect/>
            <a:stretch/>
          </p:blipFill>
          <p:spPr>
            <a:xfrm>
              <a:off x="7475522" y="3036266"/>
              <a:ext cx="998220" cy="756227"/>
            </a:xfrm>
            <a:prstGeom prst="rect">
              <a:avLst/>
            </a:prstGeom>
          </p:spPr>
        </p:pic>
      </p:grpSp>
      <p:grpSp>
        <p:nvGrpSpPr>
          <p:cNvPr id="16" name="Group 15">
            <a:extLst>
              <a:ext uri="{FF2B5EF4-FFF2-40B4-BE49-F238E27FC236}">
                <a16:creationId xmlns:a16="http://schemas.microsoft.com/office/drawing/2014/main" id="{892DCB37-6E42-439F-92FB-A883D868FA0B}"/>
              </a:ext>
            </a:extLst>
          </p:cNvPr>
          <p:cNvGrpSpPr>
            <a:grpSpLocks noChangeAspect="1"/>
          </p:cNvGrpSpPr>
          <p:nvPr/>
        </p:nvGrpSpPr>
        <p:grpSpPr bwMode="gray">
          <a:xfrm>
            <a:off x="544365" y="2304913"/>
            <a:ext cx="921505" cy="824062"/>
            <a:chOff x="875323" y="2298542"/>
            <a:chExt cx="294686" cy="263525"/>
          </a:xfrm>
          <a:solidFill>
            <a:schemeClr val="tx1"/>
          </a:solidFill>
        </p:grpSpPr>
        <p:sp>
          <p:nvSpPr>
            <p:cNvPr id="17" name="Freeform 12">
              <a:extLst>
                <a:ext uri="{FF2B5EF4-FFF2-40B4-BE49-F238E27FC236}">
                  <a16:creationId xmlns:a16="http://schemas.microsoft.com/office/drawing/2014/main" id="{FF65F57C-D3DF-4F93-8E18-3B1C3CDB293C}"/>
                </a:ext>
              </a:extLst>
            </p:cNvPr>
            <p:cNvSpPr>
              <a:spLocks/>
            </p:cNvSpPr>
            <p:nvPr/>
          </p:nvSpPr>
          <p:spPr bwMode="gray">
            <a:xfrm>
              <a:off x="1028721" y="2298542"/>
              <a:ext cx="141288" cy="263525"/>
            </a:xfrm>
            <a:custGeom>
              <a:avLst/>
              <a:gdLst>
                <a:gd name="T0" fmla="*/ 1467 w 1517"/>
                <a:gd name="T1" fmla="*/ 169 h 2830"/>
                <a:gd name="T2" fmla="*/ 1364 w 1517"/>
                <a:gd name="T3" fmla="*/ 277 h 2830"/>
                <a:gd name="T4" fmla="*/ 1246 w 1517"/>
                <a:gd name="T5" fmla="*/ 406 h 2830"/>
                <a:gd name="T6" fmla="*/ 1121 w 1517"/>
                <a:gd name="T7" fmla="*/ 548 h 2830"/>
                <a:gd name="T8" fmla="*/ 994 w 1517"/>
                <a:gd name="T9" fmla="*/ 700 h 2830"/>
                <a:gd name="T10" fmla="*/ 874 w 1517"/>
                <a:gd name="T11" fmla="*/ 854 h 2830"/>
                <a:gd name="T12" fmla="*/ 766 w 1517"/>
                <a:gd name="T13" fmla="*/ 1006 h 2830"/>
                <a:gd name="T14" fmla="*/ 676 w 1517"/>
                <a:gd name="T15" fmla="*/ 1148 h 2830"/>
                <a:gd name="T16" fmla="*/ 613 w 1517"/>
                <a:gd name="T17" fmla="*/ 1277 h 2830"/>
                <a:gd name="T18" fmla="*/ 581 w 1517"/>
                <a:gd name="T19" fmla="*/ 1385 h 2830"/>
                <a:gd name="T20" fmla="*/ 586 w 1517"/>
                <a:gd name="T21" fmla="*/ 1451 h 2830"/>
                <a:gd name="T22" fmla="*/ 615 w 1517"/>
                <a:gd name="T23" fmla="*/ 1481 h 2830"/>
                <a:gd name="T24" fmla="*/ 652 w 1517"/>
                <a:gd name="T25" fmla="*/ 1493 h 2830"/>
                <a:gd name="T26" fmla="*/ 679 w 1517"/>
                <a:gd name="T27" fmla="*/ 1495 h 2830"/>
                <a:gd name="T28" fmla="*/ 770 w 1517"/>
                <a:gd name="T29" fmla="*/ 1496 h 2830"/>
                <a:gd name="T30" fmla="*/ 873 w 1517"/>
                <a:gd name="T31" fmla="*/ 1500 h 2830"/>
                <a:gd name="T32" fmla="*/ 983 w 1517"/>
                <a:gd name="T33" fmla="*/ 1512 h 2830"/>
                <a:gd name="T34" fmla="*/ 1094 w 1517"/>
                <a:gd name="T35" fmla="*/ 1535 h 2830"/>
                <a:gd name="T36" fmla="*/ 1202 w 1517"/>
                <a:gd name="T37" fmla="*/ 1574 h 2830"/>
                <a:gd name="T38" fmla="*/ 1302 w 1517"/>
                <a:gd name="T39" fmla="*/ 1632 h 2830"/>
                <a:gd name="T40" fmla="*/ 1389 w 1517"/>
                <a:gd name="T41" fmla="*/ 1714 h 2830"/>
                <a:gd name="T42" fmla="*/ 1456 w 1517"/>
                <a:gd name="T43" fmla="*/ 1822 h 2830"/>
                <a:gd name="T44" fmla="*/ 1501 w 1517"/>
                <a:gd name="T45" fmla="*/ 1959 h 2830"/>
                <a:gd name="T46" fmla="*/ 1517 w 1517"/>
                <a:gd name="T47" fmla="*/ 2132 h 2830"/>
                <a:gd name="T48" fmla="*/ 1497 w 1517"/>
                <a:gd name="T49" fmla="*/ 2279 h 2830"/>
                <a:gd name="T50" fmla="*/ 1440 w 1517"/>
                <a:gd name="T51" fmla="*/ 2424 h 2830"/>
                <a:gd name="T52" fmla="*/ 1347 w 1517"/>
                <a:gd name="T53" fmla="*/ 2559 h 2830"/>
                <a:gd name="T54" fmla="*/ 1224 w 1517"/>
                <a:gd name="T55" fmla="*/ 2676 h 2830"/>
                <a:gd name="T56" fmla="*/ 1071 w 1517"/>
                <a:gd name="T57" fmla="*/ 2766 h 2830"/>
                <a:gd name="T58" fmla="*/ 891 w 1517"/>
                <a:gd name="T59" fmla="*/ 2819 h 2830"/>
                <a:gd name="T60" fmla="*/ 692 w 1517"/>
                <a:gd name="T61" fmla="*/ 2828 h 2830"/>
                <a:gd name="T62" fmla="*/ 513 w 1517"/>
                <a:gd name="T63" fmla="*/ 2793 h 2830"/>
                <a:gd name="T64" fmla="*/ 361 w 1517"/>
                <a:gd name="T65" fmla="*/ 2723 h 2830"/>
                <a:gd name="T66" fmla="*/ 237 w 1517"/>
                <a:gd name="T67" fmla="*/ 2624 h 2830"/>
                <a:gd name="T68" fmla="*/ 140 w 1517"/>
                <a:gd name="T69" fmla="*/ 2503 h 2830"/>
                <a:gd name="T70" fmla="*/ 68 w 1517"/>
                <a:gd name="T71" fmla="*/ 2368 h 2830"/>
                <a:gd name="T72" fmla="*/ 22 w 1517"/>
                <a:gd name="T73" fmla="*/ 2224 h 2830"/>
                <a:gd name="T74" fmla="*/ 2 w 1517"/>
                <a:gd name="T75" fmla="*/ 2080 h 2830"/>
                <a:gd name="T76" fmla="*/ 5 w 1517"/>
                <a:gd name="T77" fmla="*/ 1929 h 2830"/>
                <a:gd name="T78" fmla="*/ 29 w 1517"/>
                <a:gd name="T79" fmla="*/ 1767 h 2830"/>
                <a:gd name="T80" fmla="*/ 77 w 1517"/>
                <a:gd name="T81" fmla="*/ 1595 h 2830"/>
                <a:gd name="T82" fmla="*/ 152 w 1517"/>
                <a:gd name="T83" fmla="*/ 1415 h 2830"/>
                <a:gd name="T84" fmla="*/ 257 w 1517"/>
                <a:gd name="T85" fmla="*/ 1222 h 2830"/>
                <a:gd name="T86" fmla="*/ 394 w 1517"/>
                <a:gd name="T87" fmla="*/ 1014 h 2830"/>
                <a:gd name="T88" fmla="*/ 565 w 1517"/>
                <a:gd name="T89" fmla="*/ 790 h 2830"/>
                <a:gd name="T90" fmla="*/ 774 w 1517"/>
                <a:gd name="T91" fmla="*/ 547 h 2830"/>
                <a:gd name="T92" fmla="*/ 1024 w 1517"/>
                <a:gd name="T93" fmla="*/ 285 h 2830"/>
                <a:gd name="T94" fmla="*/ 1318 w 1517"/>
                <a:gd name="T95" fmla="*/ 0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7" h="2830">
                  <a:moveTo>
                    <a:pt x="1318" y="0"/>
                  </a:moveTo>
                  <a:lnTo>
                    <a:pt x="1497" y="139"/>
                  </a:lnTo>
                  <a:lnTo>
                    <a:pt x="1467" y="169"/>
                  </a:lnTo>
                  <a:lnTo>
                    <a:pt x="1434" y="203"/>
                  </a:lnTo>
                  <a:lnTo>
                    <a:pt x="1399" y="239"/>
                  </a:lnTo>
                  <a:lnTo>
                    <a:pt x="1364" y="277"/>
                  </a:lnTo>
                  <a:lnTo>
                    <a:pt x="1326" y="318"/>
                  </a:lnTo>
                  <a:lnTo>
                    <a:pt x="1286" y="361"/>
                  </a:lnTo>
                  <a:lnTo>
                    <a:pt x="1246" y="406"/>
                  </a:lnTo>
                  <a:lnTo>
                    <a:pt x="1205" y="452"/>
                  </a:lnTo>
                  <a:lnTo>
                    <a:pt x="1163" y="499"/>
                  </a:lnTo>
                  <a:lnTo>
                    <a:pt x="1121" y="548"/>
                  </a:lnTo>
                  <a:lnTo>
                    <a:pt x="1078" y="598"/>
                  </a:lnTo>
                  <a:lnTo>
                    <a:pt x="1036" y="649"/>
                  </a:lnTo>
                  <a:lnTo>
                    <a:pt x="994" y="700"/>
                  </a:lnTo>
                  <a:lnTo>
                    <a:pt x="954" y="751"/>
                  </a:lnTo>
                  <a:lnTo>
                    <a:pt x="913" y="803"/>
                  </a:lnTo>
                  <a:lnTo>
                    <a:pt x="874" y="854"/>
                  </a:lnTo>
                  <a:lnTo>
                    <a:pt x="836" y="906"/>
                  </a:lnTo>
                  <a:lnTo>
                    <a:pt x="801" y="956"/>
                  </a:lnTo>
                  <a:lnTo>
                    <a:pt x="766" y="1006"/>
                  </a:lnTo>
                  <a:lnTo>
                    <a:pt x="733" y="1055"/>
                  </a:lnTo>
                  <a:lnTo>
                    <a:pt x="704" y="1102"/>
                  </a:lnTo>
                  <a:lnTo>
                    <a:pt x="676" y="1148"/>
                  </a:lnTo>
                  <a:lnTo>
                    <a:pt x="652" y="1193"/>
                  </a:lnTo>
                  <a:lnTo>
                    <a:pt x="630" y="1236"/>
                  </a:lnTo>
                  <a:lnTo>
                    <a:pt x="613" y="1277"/>
                  </a:lnTo>
                  <a:lnTo>
                    <a:pt x="599" y="1315"/>
                  </a:lnTo>
                  <a:lnTo>
                    <a:pt x="587" y="1351"/>
                  </a:lnTo>
                  <a:lnTo>
                    <a:pt x="581" y="1385"/>
                  </a:lnTo>
                  <a:lnTo>
                    <a:pt x="579" y="1415"/>
                  </a:lnTo>
                  <a:lnTo>
                    <a:pt x="580" y="1435"/>
                  </a:lnTo>
                  <a:lnTo>
                    <a:pt x="586" y="1451"/>
                  </a:lnTo>
                  <a:lnTo>
                    <a:pt x="594" y="1464"/>
                  </a:lnTo>
                  <a:lnTo>
                    <a:pt x="604" y="1474"/>
                  </a:lnTo>
                  <a:lnTo>
                    <a:pt x="615" y="1481"/>
                  </a:lnTo>
                  <a:lnTo>
                    <a:pt x="627" y="1487"/>
                  </a:lnTo>
                  <a:lnTo>
                    <a:pt x="639" y="1491"/>
                  </a:lnTo>
                  <a:lnTo>
                    <a:pt x="652" y="1493"/>
                  </a:lnTo>
                  <a:lnTo>
                    <a:pt x="663" y="1495"/>
                  </a:lnTo>
                  <a:lnTo>
                    <a:pt x="672" y="1495"/>
                  </a:lnTo>
                  <a:lnTo>
                    <a:pt x="679" y="1495"/>
                  </a:lnTo>
                  <a:lnTo>
                    <a:pt x="708" y="1495"/>
                  </a:lnTo>
                  <a:lnTo>
                    <a:pt x="738" y="1495"/>
                  </a:lnTo>
                  <a:lnTo>
                    <a:pt x="770" y="1496"/>
                  </a:lnTo>
                  <a:lnTo>
                    <a:pt x="804" y="1497"/>
                  </a:lnTo>
                  <a:lnTo>
                    <a:pt x="838" y="1498"/>
                  </a:lnTo>
                  <a:lnTo>
                    <a:pt x="873" y="1500"/>
                  </a:lnTo>
                  <a:lnTo>
                    <a:pt x="910" y="1503"/>
                  </a:lnTo>
                  <a:lnTo>
                    <a:pt x="946" y="1507"/>
                  </a:lnTo>
                  <a:lnTo>
                    <a:pt x="983" y="1512"/>
                  </a:lnTo>
                  <a:lnTo>
                    <a:pt x="1020" y="1518"/>
                  </a:lnTo>
                  <a:lnTo>
                    <a:pt x="1058" y="1526"/>
                  </a:lnTo>
                  <a:lnTo>
                    <a:pt x="1094" y="1535"/>
                  </a:lnTo>
                  <a:lnTo>
                    <a:pt x="1131" y="1547"/>
                  </a:lnTo>
                  <a:lnTo>
                    <a:pt x="1167" y="1560"/>
                  </a:lnTo>
                  <a:lnTo>
                    <a:pt x="1202" y="1574"/>
                  </a:lnTo>
                  <a:lnTo>
                    <a:pt x="1237" y="1591"/>
                  </a:lnTo>
                  <a:lnTo>
                    <a:pt x="1271" y="1611"/>
                  </a:lnTo>
                  <a:lnTo>
                    <a:pt x="1302" y="1632"/>
                  </a:lnTo>
                  <a:lnTo>
                    <a:pt x="1333" y="1657"/>
                  </a:lnTo>
                  <a:lnTo>
                    <a:pt x="1362" y="1684"/>
                  </a:lnTo>
                  <a:lnTo>
                    <a:pt x="1389" y="1714"/>
                  </a:lnTo>
                  <a:lnTo>
                    <a:pt x="1414" y="1746"/>
                  </a:lnTo>
                  <a:lnTo>
                    <a:pt x="1436" y="1782"/>
                  </a:lnTo>
                  <a:lnTo>
                    <a:pt x="1456" y="1822"/>
                  </a:lnTo>
                  <a:lnTo>
                    <a:pt x="1474" y="1863"/>
                  </a:lnTo>
                  <a:lnTo>
                    <a:pt x="1489" y="1910"/>
                  </a:lnTo>
                  <a:lnTo>
                    <a:pt x="1501" y="1959"/>
                  </a:lnTo>
                  <a:lnTo>
                    <a:pt x="1509" y="2013"/>
                  </a:lnTo>
                  <a:lnTo>
                    <a:pt x="1515" y="2071"/>
                  </a:lnTo>
                  <a:lnTo>
                    <a:pt x="1517" y="2132"/>
                  </a:lnTo>
                  <a:lnTo>
                    <a:pt x="1515" y="2180"/>
                  </a:lnTo>
                  <a:lnTo>
                    <a:pt x="1508" y="2229"/>
                  </a:lnTo>
                  <a:lnTo>
                    <a:pt x="1497" y="2279"/>
                  </a:lnTo>
                  <a:lnTo>
                    <a:pt x="1482" y="2328"/>
                  </a:lnTo>
                  <a:lnTo>
                    <a:pt x="1463" y="2376"/>
                  </a:lnTo>
                  <a:lnTo>
                    <a:pt x="1440" y="2424"/>
                  </a:lnTo>
                  <a:lnTo>
                    <a:pt x="1413" y="2470"/>
                  </a:lnTo>
                  <a:lnTo>
                    <a:pt x="1382" y="2515"/>
                  </a:lnTo>
                  <a:lnTo>
                    <a:pt x="1347" y="2559"/>
                  </a:lnTo>
                  <a:lnTo>
                    <a:pt x="1310" y="2601"/>
                  </a:lnTo>
                  <a:lnTo>
                    <a:pt x="1269" y="2640"/>
                  </a:lnTo>
                  <a:lnTo>
                    <a:pt x="1224" y="2676"/>
                  </a:lnTo>
                  <a:lnTo>
                    <a:pt x="1176" y="2710"/>
                  </a:lnTo>
                  <a:lnTo>
                    <a:pt x="1125" y="2739"/>
                  </a:lnTo>
                  <a:lnTo>
                    <a:pt x="1071" y="2766"/>
                  </a:lnTo>
                  <a:lnTo>
                    <a:pt x="1014" y="2788"/>
                  </a:lnTo>
                  <a:lnTo>
                    <a:pt x="954" y="2806"/>
                  </a:lnTo>
                  <a:lnTo>
                    <a:pt x="891" y="2819"/>
                  </a:lnTo>
                  <a:lnTo>
                    <a:pt x="826" y="2827"/>
                  </a:lnTo>
                  <a:lnTo>
                    <a:pt x="759" y="2830"/>
                  </a:lnTo>
                  <a:lnTo>
                    <a:pt x="692" y="2828"/>
                  </a:lnTo>
                  <a:lnTo>
                    <a:pt x="629" y="2821"/>
                  </a:lnTo>
                  <a:lnTo>
                    <a:pt x="570" y="2809"/>
                  </a:lnTo>
                  <a:lnTo>
                    <a:pt x="513" y="2793"/>
                  </a:lnTo>
                  <a:lnTo>
                    <a:pt x="459" y="2773"/>
                  </a:lnTo>
                  <a:lnTo>
                    <a:pt x="409" y="2750"/>
                  </a:lnTo>
                  <a:lnTo>
                    <a:pt x="361" y="2723"/>
                  </a:lnTo>
                  <a:lnTo>
                    <a:pt x="317" y="2692"/>
                  </a:lnTo>
                  <a:lnTo>
                    <a:pt x="275" y="2660"/>
                  </a:lnTo>
                  <a:lnTo>
                    <a:pt x="237" y="2624"/>
                  </a:lnTo>
                  <a:lnTo>
                    <a:pt x="202" y="2586"/>
                  </a:lnTo>
                  <a:lnTo>
                    <a:pt x="169" y="2546"/>
                  </a:lnTo>
                  <a:lnTo>
                    <a:pt x="140" y="2503"/>
                  </a:lnTo>
                  <a:lnTo>
                    <a:pt x="112" y="2459"/>
                  </a:lnTo>
                  <a:lnTo>
                    <a:pt x="89" y="2414"/>
                  </a:lnTo>
                  <a:lnTo>
                    <a:pt x="68" y="2368"/>
                  </a:lnTo>
                  <a:lnTo>
                    <a:pt x="50" y="2321"/>
                  </a:lnTo>
                  <a:lnTo>
                    <a:pt x="35" y="2273"/>
                  </a:lnTo>
                  <a:lnTo>
                    <a:pt x="22" y="2224"/>
                  </a:lnTo>
                  <a:lnTo>
                    <a:pt x="12" y="2176"/>
                  </a:lnTo>
                  <a:lnTo>
                    <a:pt x="6" y="2128"/>
                  </a:lnTo>
                  <a:lnTo>
                    <a:pt x="2" y="2080"/>
                  </a:lnTo>
                  <a:lnTo>
                    <a:pt x="0" y="2032"/>
                  </a:lnTo>
                  <a:lnTo>
                    <a:pt x="1" y="1980"/>
                  </a:lnTo>
                  <a:lnTo>
                    <a:pt x="5" y="1929"/>
                  </a:lnTo>
                  <a:lnTo>
                    <a:pt x="10" y="1876"/>
                  </a:lnTo>
                  <a:lnTo>
                    <a:pt x="18" y="1822"/>
                  </a:lnTo>
                  <a:lnTo>
                    <a:pt x="29" y="1767"/>
                  </a:lnTo>
                  <a:lnTo>
                    <a:pt x="43" y="1711"/>
                  </a:lnTo>
                  <a:lnTo>
                    <a:pt x="58" y="1654"/>
                  </a:lnTo>
                  <a:lnTo>
                    <a:pt x="77" y="1595"/>
                  </a:lnTo>
                  <a:lnTo>
                    <a:pt x="99" y="1536"/>
                  </a:lnTo>
                  <a:lnTo>
                    <a:pt x="124" y="1476"/>
                  </a:lnTo>
                  <a:lnTo>
                    <a:pt x="152" y="1415"/>
                  </a:lnTo>
                  <a:lnTo>
                    <a:pt x="183" y="1352"/>
                  </a:lnTo>
                  <a:lnTo>
                    <a:pt x="218" y="1288"/>
                  </a:lnTo>
                  <a:lnTo>
                    <a:pt x="257" y="1222"/>
                  </a:lnTo>
                  <a:lnTo>
                    <a:pt x="299" y="1154"/>
                  </a:lnTo>
                  <a:lnTo>
                    <a:pt x="344" y="1085"/>
                  </a:lnTo>
                  <a:lnTo>
                    <a:pt x="394" y="1014"/>
                  </a:lnTo>
                  <a:lnTo>
                    <a:pt x="447" y="942"/>
                  </a:lnTo>
                  <a:lnTo>
                    <a:pt x="504" y="866"/>
                  </a:lnTo>
                  <a:lnTo>
                    <a:pt x="565" y="790"/>
                  </a:lnTo>
                  <a:lnTo>
                    <a:pt x="630" y="711"/>
                  </a:lnTo>
                  <a:lnTo>
                    <a:pt x="700" y="631"/>
                  </a:lnTo>
                  <a:lnTo>
                    <a:pt x="774" y="547"/>
                  </a:lnTo>
                  <a:lnTo>
                    <a:pt x="853" y="463"/>
                  </a:lnTo>
                  <a:lnTo>
                    <a:pt x="936" y="375"/>
                  </a:lnTo>
                  <a:lnTo>
                    <a:pt x="1024" y="285"/>
                  </a:lnTo>
                  <a:lnTo>
                    <a:pt x="1117" y="193"/>
                  </a:lnTo>
                  <a:lnTo>
                    <a:pt x="1215" y="97"/>
                  </a:lnTo>
                  <a:lnTo>
                    <a:pt x="1318" y="0"/>
                  </a:lnTo>
                  <a:close/>
                </a:path>
              </a:pathLst>
            </a:custGeom>
            <a:grp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8" name="Freeform 13">
              <a:extLst>
                <a:ext uri="{FF2B5EF4-FFF2-40B4-BE49-F238E27FC236}">
                  <a16:creationId xmlns:a16="http://schemas.microsoft.com/office/drawing/2014/main" id="{CA4B4F30-9578-4B42-B9E5-334F077C528C}"/>
                </a:ext>
              </a:extLst>
            </p:cNvPr>
            <p:cNvSpPr>
              <a:spLocks/>
            </p:cNvSpPr>
            <p:nvPr/>
          </p:nvSpPr>
          <p:spPr bwMode="gray">
            <a:xfrm>
              <a:off x="875323" y="2298542"/>
              <a:ext cx="141288" cy="263525"/>
            </a:xfrm>
            <a:custGeom>
              <a:avLst/>
              <a:gdLst>
                <a:gd name="T0" fmla="*/ 1471 w 1517"/>
                <a:gd name="T1" fmla="*/ 165 h 2830"/>
                <a:gd name="T2" fmla="*/ 1374 w 1517"/>
                <a:gd name="T3" fmla="*/ 265 h 2830"/>
                <a:gd name="T4" fmla="*/ 1256 w 1517"/>
                <a:gd name="T5" fmla="*/ 394 h 2830"/>
                <a:gd name="T6" fmla="*/ 1125 w 1517"/>
                <a:gd name="T7" fmla="*/ 540 h 2830"/>
                <a:gd name="T8" fmla="*/ 993 w 1517"/>
                <a:gd name="T9" fmla="*/ 700 h 2830"/>
                <a:gd name="T10" fmla="*/ 871 w 1517"/>
                <a:gd name="T11" fmla="*/ 864 h 2830"/>
                <a:gd name="T12" fmla="*/ 767 w 1517"/>
                <a:gd name="T13" fmla="*/ 1025 h 2830"/>
                <a:gd name="T14" fmla="*/ 689 w 1517"/>
                <a:gd name="T15" fmla="*/ 1158 h 2830"/>
                <a:gd name="T16" fmla="*/ 634 w 1517"/>
                <a:gd name="T17" fmla="*/ 1253 h 2830"/>
                <a:gd name="T18" fmla="*/ 603 w 1517"/>
                <a:gd name="T19" fmla="*/ 1319 h 2830"/>
                <a:gd name="T20" fmla="*/ 585 w 1517"/>
                <a:gd name="T21" fmla="*/ 1363 h 2830"/>
                <a:gd name="T22" fmla="*/ 579 w 1517"/>
                <a:gd name="T23" fmla="*/ 1393 h 2830"/>
                <a:gd name="T24" fmla="*/ 578 w 1517"/>
                <a:gd name="T25" fmla="*/ 1415 h 2830"/>
                <a:gd name="T26" fmla="*/ 591 w 1517"/>
                <a:gd name="T27" fmla="*/ 1464 h 2830"/>
                <a:gd name="T28" fmla="*/ 619 w 1517"/>
                <a:gd name="T29" fmla="*/ 1487 h 2830"/>
                <a:gd name="T30" fmla="*/ 655 w 1517"/>
                <a:gd name="T31" fmla="*/ 1495 h 2830"/>
                <a:gd name="T32" fmla="*/ 708 w 1517"/>
                <a:gd name="T33" fmla="*/ 1495 h 2830"/>
                <a:gd name="T34" fmla="*/ 804 w 1517"/>
                <a:gd name="T35" fmla="*/ 1497 h 2830"/>
                <a:gd name="T36" fmla="*/ 909 w 1517"/>
                <a:gd name="T37" fmla="*/ 1503 h 2830"/>
                <a:gd name="T38" fmla="*/ 1020 w 1517"/>
                <a:gd name="T39" fmla="*/ 1518 h 2830"/>
                <a:gd name="T40" fmla="*/ 1131 w 1517"/>
                <a:gd name="T41" fmla="*/ 1547 h 2830"/>
                <a:gd name="T42" fmla="*/ 1237 w 1517"/>
                <a:gd name="T43" fmla="*/ 1591 h 2830"/>
                <a:gd name="T44" fmla="*/ 1333 w 1517"/>
                <a:gd name="T45" fmla="*/ 1657 h 2830"/>
                <a:gd name="T46" fmla="*/ 1414 w 1517"/>
                <a:gd name="T47" fmla="*/ 1746 h 2830"/>
                <a:gd name="T48" fmla="*/ 1474 w 1517"/>
                <a:gd name="T49" fmla="*/ 1863 h 2830"/>
                <a:gd name="T50" fmla="*/ 1510 w 1517"/>
                <a:gd name="T51" fmla="*/ 2013 h 2830"/>
                <a:gd name="T52" fmla="*/ 1515 w 1517"/>
                <a:gd name="T53" fmla="*/ 2180 h 2830"/>
                <a:gd name="T54" fmla="*/ 1482 w 1517"/>
                <a:gd name="T55" fmla="*/ 2328 h 2830"/>
                <a:gd name="T56" fmla="*/ 1413 w 1517"/>
                <a:gd name="T57" fmla="*/ 2470 h 2830"/>
                <a:gd name="T58" fmla="*/ 1310 w 1517"/>
                <a:gd name="T59" fmla="*/ 2601 h 2830"/>
                <a:gd name="T60" fmla="*/ 1176 w 1517"/>
                <a:gd name="T61" fmla="*/ 2710 h 2830"/>
                <a:gd name="T62" fmla="*/ 1014 w 1517"/>
                <a:gd name="T63" fmla="*/ 2788 h 2830"/>
                <a:gd name="T64" fmla="*/ 826 w 1517"/>
                <a:gd name="T65" fmla="*/ 2827 h 2830"/>
                <a:gd name="T66" fmla="*/ 629 w 1517"/>
                <a:gd name="T67" fmla="*/ 2821 h 2830"/>
                <a:gd name="T68" fmla="*/ 459 w 1517"/>
                <a:gd name="T69" fmla="*/ 2773 h 2830"/>
                <a:gd name="T70" fmla="*/ 316 w 1517"/>
                <a:gd name="T71" fmla="*/ 2692 h 2830"/>
                <a:gd name="T72" fmla="*/ 201 w 1517"/>
                <a:gd name="T73" fmla="*/ 2586 h 2830"/>
                <a:gd name="T74" fmla="*/ 112 w 1517"/>
                <a:gd name="T75" fmla="*/ 2459 h 2830"/>
                <a:gd name="T76" fmla="*/ 50 w 1517"/>
                <a:gd name="T77" fmla="*/ 2321 h 2830"/>
                <a:gd name="T78" fmla="*/ 12 w 1517"/>
                <a:gd name="T79" fmla="*/ 2176 h 2830"/>
                <a:gd name="T80" fmla="*/ 0 w 1517"/>
                <a:gd name="T81" fmla="*/ 2032 h 2830"/>
                <a:gd name="T82" fmla="*/ 10 w 1517"/>
                <a:gd name="T83" fmla="*/ 1876 h 2830"/>
                <a:gd name="T84" fmla="*/ 42 w 1517"/>
                <a:gd name="T85" fmla="*/ 1711 h 2830"/>
                <a:gd name="T86" fmla="*/ 99 w 1517"/>
                <a:gd name="T87" fmla="*/ 1536 h 2830"/>
                <a:gd name="T88" fmla="*/ 184 w 1517"/>
                <a:gd name="T89" fmla="*/ 1352 h 2830"/>
                <a:gd name="T90" fmla="*/ 298 w 1517"/>
                <a:gd name="T91" fmla="*/ 1154 h 2830"/>
                <a:gd name="T92" fmla="*/ 446 w 1517"/>
                <a:gd name="T93" fmla="*/ 942 h 2830"/>
                <a:gd name="T94" fmla="*/ 630 w 1517"/>
                <a:gd name="T95" fmla="*/ 711 h 2830"/>
                <a:gd name="T96" fmla="*/ 853 w 1517"/>
                <a:gd name="T97" fmla="*/ 463 h 2830"/>
                <a:gd name="T98" fmla="*/ 1117 w 1517"/>
                <a:gd name="T99" fmla="*/ 19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7" h="2830">
                  <a:moveTo>
                    <a:pt x="1317" y="0"/>
                  </a:moveTo>
                  <a:lnTo>
                    <a:pt x="1496" y="139"/>
                  </a:lnTo>
                  <a:lnTo>
                    <a:pt x="1471" y="165"/>
                  </a:lnTo>
                  <a:lnTo>
                    <a:pt x="1441" y="195"/>
                  </a:lnTo>
                  <a:lnTo>
                    <a:pt x="1409" y="229"/>
                  </a:lnTo>
                  <a:lnTo>
                    <a:pt x="1374" y="265"/>
                  </a:lnTo>
                  <a:lnTo>
                    <a:pt x="1336" y="305"/>
                  </a:lnTo>
                  <a:lnTo>
                    <a:pt x="1296" y="348"/>
                  </a:lnTo>
                  <a:lnTo>
                    <a:pt x="1256" y="394"/>
                  </a:lnTo>
                  <a:lnTo>
                    <a:pt x="1213" y="440"/>
                  </a:lnTo>
                  <a:lnTo>
                    <a:pt x="1169" y="489"/>
                  </a:lnTo>
                  <a:lnTo>
                    <a:pt x="1125" y="540"/>
                  </a:lnTo>
                  <a:lnTo>
                    <a:pt x="1081" y="593"/>
                  </a:lnTo>
                  <a:lnTo>
                    <a:pt x="1037" y="646"/>
                  </a:lnTo>
                  <a:lnTo>
                    <a:pt x="993" y="700"/>
                  </a:lnTo>
                  <a:lnTo>
                    <a:pt x="952" y="754"/>
                  </a:lnTo>
                  <a:lnTo>
                    <a:pt x="910" y="809"/>
                  </a:lnTo>
                  <a:lnTo>
                    <a:pt x="871" y="864"/>
                  </a:lnTo>
                  <a:lnTo>
                    <a:pt x="833" y="918"/>
                  </a:lnTo>
                  <a:lnTo>
                    <a:pt x="799" y="972"/>
                  </a:lnTo>
                  <a:lnTo>
                    <a:pt x="767" y="1025"/>
                  </a:lnTo>
                  <a:lnTo>
                    <a:pt x="738" y="1076"/>
                  </a:lnTo>
                  <a:lnTo>
                    <a:pt x="712" y="1120"/>
                  </a:lnTo>
                  <a:lnTo>
                    <a:pt x="689" y="1158"/>
                  </a:lnTo>
                  <a:lnTo>
                    <a:pt x="668" y="1194"/>
                  </a:lnTo>
                  <a:lnTo>
                    <a:pt x="650" y="1226"/>
                  </a:lnTo>
                  <a:lnTo>
                    <a:pt x="634" y="1253"/>
                  </a:lnTo>
                  <a:lnTo>
                    <a:pt x="622" y="1279"/>
                  </a:lnTo>
                  <a:lnTo>
                    <a:pt x="611" y="1300"/>
                  </a:lnTo>
                  <a:lnTo>
                    <a:pt x="603" y="1319"/>
                  </a:lnTo>
                  <a:lnTo>
                    <a:pt x="596" y="1336"/>
                  </a:lnTo>
                  <a:lnTo>
                    <a:pt x="590" y="1350"/>
                  </a:lnTo>
                  <a:lnTo>
                    <a:pt x="585" y="1363"/>
                  </a:lnTo>
                  <a:lnTo>
                    <a:pt x="582" y="1374"/>
                  </a:lnTo>
                  <a:lnTo>
                    <a:pt x="580" y="1384"/>
                  </a:lnTo>
                  <a:lnTo>
                    <a:pt x="579" y="1393"/>
                  </a:lnTo>
                  <a:lnTo>
                    <a:pt x="579" y="1401"/>
                  </a:lnTo>
                  <a:lnTo>
                    <a:pt x="578" y="1408"/>
                  </a:lnTo>
                  <a:lnTo>
                    <a:pt x="578" y="1415"/>
                  </a:lnTo>
                  <a:lnTo>
                    <a:pt x="580" y="1435"/>
                  </a:lnTo>
                  <a:lnTo>
                    <a:pt x="584" y="1451"/>
                  </a:lnTo>
                  <a:lnTo>
                    <a:pt x="591" y="1464"/>
                  </a:lnTo>
                  <a:lnTo>
                    <a:pt x="599" y="1474"/>
                  </a:lnTo>
                  <a:lnTo>
                    <a:pt x="608" y="1481"/>
                  </a:lnTo>
                  <a:lnTo>
                    <a:pt x="619" y="1487"/>
                  </a:lnTo>
                  <a:lnTo>
                    <a:pt x="631" y="1491"/>
                  </a:lnTo>
                  <a:lnTo>
                    <a:pt x="643" y="1493"/>
                  </a:lnTo>
                  <a:lnTo>
                    <a:pt x="655" y="1495"/>
                  </a:lnTo>
                  <a:lnTo>
                    <a:pt x="667" y="1495"/>
                  </a:lnTo>
                  <a:lnTo>
                    <a:pt x="678" y="1495"/>
                  </a:lnTo>
                  <a:lnTo>
                    <a:pt x="708" y="1495"/>
                  </a:lnTo>
                  <a:lnTo>
                    <a:pt x="737" y="1495"/>
                  </a:lnTo>
                  <a:lnTo>
                    <a:pt x="770" y="1496"/>
                  </a:lnTo>
                  <a:lnTo>
                    <a:pt x="804" y="1497"/>
                  </a:lnTo>
                  <a:lnTo>
                    <a:pt x="837" y="1498"/>
                  </a:lnTo>
                  <a:lnTo>
                    <a:pt x="873" y="1500"/>
                  </a:lnTo>
                  <a:lnTo>
                    <a:pt x="909" y="1503"/>
                  </a:lnTo>
                  <a:lnTo>
                    <a:pt x="946" y="1507"/>
                  </a:lnTo>
                  <a:lnTo>
                    <a:pt x="983" y="1512"/>
                  </a:lnTo>
                  <a:lnTo>
                    <a:pt x="1020" y="1518"/>
                  </a:lnTo>
                  <a:lnTo>
                    <a:pt x="1058" y="1526"/>
                  </a:lnTo>
                  <a:lnTo>
                    <a:pt x="1094" y="1535"/>
                  </a:lnTo>
                  <a:lnTo>
                    <a:pt x="1131" y="1547"/>
                  </a:lnTo>
                  <a:lnTo>
                    <a:pt x="1167" y="1560"/>
                  </a:lnTo>
                  <a:lnTo>
                    <a:pt x="1203" y="1574"/>
                  </a:lnTo>
                  <a:lnTo>
                    <a:pt x="1237" y="1591"/>
                  </a:lnTo>
                  <a:lnTo>
                    <a:pt x="1270" y="1611"/>
                  </a:lnTo>
                  <a:lnTo>
                    <a:pt x="1303" y="1632"/>
                  </a:lnTo>
                  <a:lnTo>
                    <a:pt x="1333" y="1657"/>
                  </a:lnTo>
                  <a:lnTo>
                    <a:pt x="1362" y="1684"/>
                  </a:lnTo>
                  <a:lnTo>
                    <a:pt x="1388" y="1714"/>
                  </a:lnTo>
                  <a:lnTo>
                    <a:pt x="1414" y="1746"/>
                  </a:lnTo>
                  <a:lnTo>
                    <a:pt x="1436" y="1782"/>
                  </a:lnTo>
                  <a:lnTo>
                    <a:pt x="1457" y="1822"/>
                  </a:lnTo>
                  <a:lnTo>
                    <a:pt x="1474" y="1863"/>
                  </a:lnTo>
                  <a:lnTo>
                    <a:pt x="1489" y="1910"/>
                  </a:lnTo>
                  <a:lnTo>
                    <a:pt x="1500" y="1959"/>
                  </a:lnTo>
                  <a:lnTo>
                    <a:pt x="1510" y="2013"/>
                  </a:lnTo>
                  <a:lnTo>
                    <a:pt x="1515" y="2071"/>
                  </a:lnTo>
                  <a:lnTo>
                    <a:pt x="1517" y="2132"/>
                  </a:lnTo>
                  <a:lnTo>
                    <a:pt x="1515" y="2180"/>
                  </a:lnTo>
                  <a:lnTo>
                    <a:pt x="1508" y="2229"/>
                  </a:lnTo>
                  <a:lnTo>
                    <a:pt x="1497" y="2279"/>
                  </a:lnTo>
                  <a:lnTo>
                    <a:pt x="1482" y="2328"/>
                  </a:lnTo>
                  <a:lnTo>
                    <a:pt x="1463" y="2376"/>
                  </a:lnTo>
                  <a:lnTo>
                    <a:pt x="1439" y="2424"/>
                  </a:lnTo>
                  <a:lnTo>
                    <a:pt x="1413" y="2470"/>
                  </a:lnTo>
                  <a:lnTo>
                    <a:pt x="1382" y="2515"/>
                  </a:lnTo>
                  <a:lnTo>
                    <a:pt x="1347" y="2559"/>
                  </a:lnTo>
                  <a:lnTo>
                    <a:pt x="1310" y="2601"/>
                  </a:lnTo>
                  <a:lnTo>
                    <a:pt x="1268" y="2640"/>
                  </a:lnTo>
                  <a:lnTo>
                    <a:pt x="1224" y="2676"/>
                  </a:lnTo>
                  <a:lnTo>
                    <a:pt x="1176" y="2710"/>
                  </a:lnTo>
                  <a:lnTo>
                    <a:pt x="1125" y="2739"/>
                  </a:lnTo>
                  <a:lnTo>
                    <a:pt x="1070" y="2766"/>
                  </a:lnTo>
                  <a:lnTo>
                    <a:pt x="1014" y="2788"/>
                  </a:lnTo>
                  <a:lnTo>
                    <a:pt x="954" y="2806"/>
                  </a:lnTo>
                  <a:lnTo>
                    <a:pt x="891" y="2819"/>
                  </a:lnTo>
                  <a:lnTo>
                    <a:pt x="826" y="2827"/>
                  </a:lnTo>
                  <a:lnTo>
                    <a:pt x="758" y="2830"/>
                  </a:lnTo>
                  <a:lnTo>
                    <a:pt x="693" y="2828"/>
                  </a:lnTo>
                  <a:lnTo>
                    <a:pt x="629" y="2821"/>
                  </a:lnTo>
                  <a:lnTo>
                    <a:pt x="569" y="2809"/>
                  </a:lnTo>
                  <a:lnTo>
                    <a:pt x="513" y="2793"/>
                  </a:lnTo>
                  <a:lnTo>
                    <a:pt x="459" y="2773"/>
                  </a:lnTo>
                  <a:lnTo>
                    <a:pt x="409" y="2750"/>
                  </a:lnTo>
                  <a:lnTo>
                    <a:pt x="361" y="2723"/>
                  </a:lnTo>
                  <a:lnTo>
                    <a:pt x="316" y="2692"/>
                  </a:lnTo>
                  <a:lnTo>
                    <a:pt x="275" y="2660"/>
                  </a:lnTo>
                  <a:lnTo>
                    <a:pt x="237" y="2624"/>
                  </a:lnTo>
                  <a:lnTo>
                    <a:pt x="201" y="2586"/>
                  </a:lnTo>
                  <a:lnTo>
                    <a:pt x="168" y="2546"/>
                  </a:lnTo>
                  <a:lnTo>
                    <a:pt x="139" y="2503"/>
                  </a:lnTo>
                  <a:lnTo>
                    <a:pt x="112" y="2459"/>
                  </a:lnTo>
                  <a:lnTo>
                    <a:pt x="89" y="2414"/>
                  </a:lnTo>
                  <a:lnTo>
                    <a:pt x="67" y="2368"/>
                  </a:lnTo>
                  <a:lnTo>
                    <a:pt x="50" y="2321"/>
                  </a:lnTo>
                  <a:lnTo>
                    <a:pt x="35" y="2273"/>
                  </a:lnTo>
                  <a:lnTo>
                    <a:pt x="22" y="2224"/>
                  </a:lnTo>
                  <a:lnTo>
                    <a:pt x="12" y="2176"/>
                  </a:lnTo>
                  <a:lnTo>
                    <a:pt x="5" y="2128"/>
                  </a:lnTo>
                  <a:lnTo>
                    <a:pt x="1" y="2080"/>
                  </a:lnTo>
                  <a:lnTo>
                    <a:pt x="0" y="2032"/>
                  </a:lnTo>
                  <a:lnTo>
                    <a:pt x="1" y="1980"/>
                  </a:lnTo>
                  <a:lnTo>
                    <a:pt x="4" y="1929"/>
                  </a:lnTo>
                  <a:lnTo>
                    <a:pt x="10" y="1876"/>
                  </a:lnTo>
                  <a:lnTo>
                    <a:pt x="18" y="1822"/>
                  </a:lnTo>
                  <a:lnTo>
                    <a:pt x="29" y="1767"/>
                  </a:lnTo>
                  <a:lnTo>
                    <a:pt x="42" y="1711"/>
                  </a:lnTo>
                  <a:lnTo>
                    <a:pt x="58" y="1654"/>
                  </a:lnTo>
                  <a:lnTo>
                    <a:pt x="78" y="1595"/>
                  </a:lnTo>
                  <a:lnTo>
                    <a:pt x="99" y="1536"/>
                  </a:lnTo>
                  <a:lnTo>
                    <a:pt x="124" y="1476"/>
                  </a:lnTo>
                  <a:lnTo>
                    <a:pt x="152" y="1415"/>
                  </a:lnTo>
                  <a:lnTo>
                    <a:pt x="184" y="1352"/>
                  </a:lnTo>
                  <a:lnTo>
                    <a:pt x="218" y="1288"/>
                  </a:lnTo>
                  <a:lnTo>
                    <a:pt x="256" y="1222"/>
                  </a:lnTo>
                  <a:lnTo>
                    <a:pt x="298" y="1154"/>
                  </a:lnTo>
                  <a:lnTo>
                    <a:pt x="344" y="1085"/>
                  </a:lnTo>
                  <a:lnTo>
                    <a:pt x="393" y="1014"/>
                  </a:lnTo>
                  <a:lnTo>
                    <a:pt x="446" y="942"/>
                  </a:lnTo>
                  <a:lnTo>
                    <a:pt x="503" y="866"/>
                  </a:lnTo>
                  <a:lnTo>
                    <a:pt x="565" y="790"/>
                  </a:lnTo>
                  <a:lnTo>
                    <a:pt x="630" y="711"/>
                  </a:lnTo>
                  <a:lnTo>
                    <a:pt x="700" y="631"/>
                  </a:lnTo>
                  <a:lnTo>
                    <a:pt x="774" y="547"/>
                  </a:lnTo>
                  <a:lnTo>
                    <a:pt x="853" y="463"/>
                  </a:lnTo>
                  <a:lnTo>
                    <a:pt x="936" y="375"/>
                  </a:lnTo>
                  <a:lnTo>
                    <a:pt x="1024" y="285"/>
                  </a:lnTo>
                  <a:lnTo>
                    <a:pt x="1117" y="193"/>
                  </a:lnTo>
                  <a:lnTo>
                    <a:pt x="1215" y="97"/>
                  </a:lnTo>
                  <a:lnTo>
                    <a:pt x="1317" y="0"/>
                  </a:lnTo>
                  <a:close/>
                </a:path>
              </a:pathLst>
            </a:custGeom>
            <a:grp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13565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5557D511-D4DA-4E68-8D46-54D0B9D10411}"/>
              </a:ext>
            </a:extLst>
          </p:cNvPr>
          <p:cNvSpPr>
            <a:spLocks noGrp="1"/>
          </p:cNvSpPr>
          <p:nvPr>
            <p:ph type="body" sz="quarter" idx="28"/>
          </p:nvPr>
        </p:nvSpPr>
        <p:spPr/>
        <p:txBody>
          <a:bodyPr/>
          <a:lstStyle/>
          <a:p>
            <a:endParaRPr lang="en-US"/>
          </a:p>
        </p:txBody>
      </p:sp>
      <p:sp>
        <p:nvSpPr>
          <p:cNvPr id="13" name="Title 12">
            <a:extLst>
              <a:ext uri="{FF2B5EF4-FFF2-40B4-BE49-F238E27FC236}">
                <a16:creationId xmlns:a16="http://schemas.microsoft.com/office/drawing/2014/main" id="{3AE334DD-71A8-41BE-B76E-3A0F7508B816}"/>
              </a:ext>
            </a:extLst>
          </p:cNvPr>
          <p:cNvSpPr>
            <a:spLocks noGrp="1"/>
          </p:cNvSpPr>
          <p:nvPr>
            <p:ph type="title"/>
          </p:nvPr>
        </p:nvSpPr>
        <p:spPr>
          <a:xfrm>
            <a:off x="612774" y="588771"/>
            <a:ext cx="11164067" cy="540917"/>
          </a:xfrm>
        </p:spPr>
        <p:txBody>
          <a:bodyPr/>
          <a:lstStyle/>
          <a:p>
            <a:r>
              <a:rPr lang="en-US"/>
              <a:t>Digital literacy and digital health literacy are intertwined</a:t>
            </a:r>
          </a:p>
        </p:txBody>
      </p:sp>
      <p:sp>
        <p:nvSpPr>
          <p:cNvPr id="3" name="Text Placeholder 2">
            <a:extLst>
              <a:ext uri="{FF2B5EF4-FFF2-40B4-BE49-F238E27FC236}">
                <a16:creationId xmlns:a16="http://schemas.microsoft.com/office/drawing/2014/main" id="{0AA5872F-D4BC-459B-A872-73E4ED0F8D57}"/>
              </a:ext>
            </a:extLst>
          </p:cNvPr>
          <p:cNvSpPr>
            <a:spLocks noGrp="1"/>
          </p:cNvSpPr>
          <p:nvPr>
            <p:ph type="body" sz="quarter" idx="27"/>
          </p:nvPr>
        </p:nvSpPr>
        <p:spPr>
          <a:xfrm>
            <a:off x="9273540" y="5952324"/>
            <a:ext cx="2302890" cy="215444"/>
          </a:xfrm>
        </p:spPr>
        <p:txBody>
          <a:bodyPr/>
          <a:lstStyle/>
          <a:p>
            <a:r>
              <a:rPr lang="en-US"/>
              <a:t>Source: Shively, K., “</a:t>
            </a:r>
            <a:r>
              <a:rPr lang="en-US">
                <a:hlinkClick r:id="rId3"/>
              </a:rPr>
              <a:t>Components of Digital Literacy;</a:t>
            </a:r>
            <a:r>
              <a:rPr lang="en-US"/>
              <a:t>” National Library of Medicine, “</a:t>
            </a:r>
            <a:r>
              <a:rPr lang="en-US">
                <a:hlinkClick r:id="rId4"/>
              </a:rPr>
              <a:t>Digital Health Literacy</a:t>
            </a:r>
            <a:r>
              <a:rPr lang="en-US"/>
              <a:t>;”  </a:t>
            </a:r>
          </a:p>
        </p:txBody>
      </p:sp>
      <p:cxnSp>
        <p:nvCxnSpPr>
          <p:cNvPr id="8" name="Straight Connector 7">
            <a:extLst>
              <a:ext uri="{FF2B5EF4-FFF2-40B4-BE49-F238E27FC236}">
                <a16:creationId xmlns:a16="http://schemas.microsoft.com/office/drawing/2014/main" id="{074FA255-8E12-4AEE-8D33-3706254C16AF}"/>
              </a:ext>
            </a:extLst>
          </p:cNvPr>
          <p:cNvCxnSpPr>
            <a:cxnSpLocks/>
          </p:cNvCxnSpPr>
          <p:nvPr/>
        </p:nvCxnSpPr>
        <p:spPr bwMode="gray">
          <a:xfrm flipH="1">
            <a:off x="6692900" y="3506607"/>
            <a:ext cx="4883531" cy="0"/>
          </a:xfrm>
          <a:prstGeom prst="line">
            <a:avLst/>
          </a:prstGeom>
          <a:ln w="28575">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56BE89-8E5D-48DD-9BFD-47B44E0EC90F}"/>
              </a:ext>
            </a:extLst>
          </p:cNvPr>
          <p:cNvCxnSpPr>
            <a:cxnSpLocks/>
          </p:cNvCxnSpPr>
          <p:nvPr/>
        </p:nvCxnSpPr>
        <p:spPr bwMode="gray">
          <a:xfrm flipH="1">
            <a:off x="605569" y="3506607"/>
            <a:ext cx="4842731" cy="0"/>
          </a:xfrm>
          <a:prstGeom prst="line">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6ADBE94-6D9B-4CA6-9E0F-23DD4CBBF628}"/>
              </a:ext>
            </a:extLst>
          </p:cNvPr>
          <p:cNvGrpSpPr/>
          <p:nvPr/>
        </p:nvGrpSpPr>
        <p:grpSpPr bwMode="gray">
          <a:xfrm>
            <a:off x="4926891" y="2360203"/>
            <a:ext cx="2326274" cy="2014682"/>
            <a:chOff x="3003550" y="1223963"/>
            <a:chExt cx="2773363" cy="2401888"/>
          </a:xfrm>
        </p:grpSpPr>
        <p:sp>
          <p:nvSpPr>
            <p:cNvPr id="12" name="Freeform 5">
              <a:extLst>
                <a:ext uri="{FF2B5EF4-FFF2-40B4-BE49-F238E27FC236}">
                  <a16:creationId xmlns:a16="http://schemas.microsoft.com/office/drawing/2014/main" id="{36EA5136-FDA0-4011-8B16-AB28A8B4E327}"/>
                </a:ext>
              </a:extLst>
            </p:cNvPr>
            <p:cNvSpPr>
              <a:spLocks/>
            </p:cNvSpPr>
            <p:nvPr/>
          </p:nvSpPr>
          <p:spPr bwMode="gray">
            <a:xfrm>
              <a:off x="3003550" y="3525838"/>
              <a:ext cx="2773363" cy="100013"/>
            </a:xfrm>
            <a:custGeom>
              <a:avLst/>
              <a:gdLst>
                <a:gd name="T0" fmla="*/ 2721 w 2903"/>
                <a:gd name="T1" fmla="*/ 0 h 104"/>
                <a:gd name="T2" fmla="*/ 2721 w 2903"/>
                <a:gd name="T3" fmla="*/ 0 h 104"/>
                <a:gd name="T4" fmla="*/ 181 w 2903"/>
                <a:gd name="T5" fmla="*/ 0 h 104"/>
                <a:gd name="T6" fmla="*/ 0 w 2903"/>
                <a:gd name="T7" fmla="*/ 104 h 104"/>
                <a:gd name="T8" fmla="*/ 2903 w 2903"/>
                <a:gd name="T9" fmla="*/ 104 h 104"/>
                <a:gd name="T10" fmla="*/ 2721 w 2903"/>
                <a:gd name="T11" fmla="*/ 0 h 104"/>
              </a:gdLst>
              <a:ahLst/>
              <a:cxnLst>
                <a:cxn ang="0">
                  <a:pos x="T0" y="T1"/>
                </a:cxn>
                <a:cxn ang="0">
                  <a:pos x="T2" y="T3"/>
                </a:cxn>
                <a:cxn ang="0">
                  <a:pos x="T4" y="T5"/>
                </a:cxn>
                <a:cxn ang="0">
                  <a:pos x="T6" y="T7"/>
                </a:cxn>
                <a:cxn ang="0">
                  <a:pos x="T8" y="T9"/>
                </a:cxn>
                <a:cxn ang="0">
                  <a:pos x="T10" y="T11"/>
                </a:cxn>
              </a:cxnLst>
              <a:rect l="0" t="0" r="r" b="b"/>
              <a:pathLst>
                <a:path w="2903" h="104">
                  <a:moveTo>
                    <a:pt x="2721" y="0"/>
                  </a:moveTo>
                  <a:lnTo>
                    <a:pt x="2721" y="0"/>
                  </a:lnTo>
                  <a:lnTo>
                    <a:pt x="181" y="0"/>
                  </a:lnTo>
                  <a:lnTo>
                    <a:pt x="0" y="104"/>
                  </a:lnTo>
                  <a:lnTo>
                    <a:pt x="2903" y="104"/>
                  </a:lnTo>
                  <a:lnTo>
                    <a:pt x="2721" y="0"/>
                  </a:lnTo>
                  <a:close/>
                </a:path>
              </a:pathLst>
            </a:custGeom>
            <a:solidFill>
              <a:schemeClr val="accent1"/>
            </a:solidFill>
            <a:ln w="0">
              <a:noFill/>
              <a:prstDash val="solid"/>
              <a:round/>
              <a:headEnd/>
              <a:tailEnd/>
            </a:ln>
          </p:spPr>
          <p:txBody>
            <a:bodyPr vert="horz" wrap="square" lIns="130629" tIns="65314" rIns="130629" bIns="653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53"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6" name="Freeform 6">
              <a:extLst>
                <a:ext uri="{FF2B5EF4-FFF2-40B4-BE49-F238E27FC236}">
                  <a16:creationId xmlns:a16="http://schemas.microsoft.com/office/drawing/2014/main" id="{A436D89C-1912-465B-B6CF-014718FACD14}"/>
                </a:ext>
              </a:extLst>
            </p:cNvPr>
            <p:cNvSpPr>
              <a:spLocks/>
            </p:cNvSpPr>
            <p:nvPr/>
          </p:nvSpPr>
          <p:spPr bwMode="gray">
            <a:xfrm>
              <a:off x="3003550" y="1223963"/>
              <a:ext cx="1385888" cy="2401888"/>
            </a:xfrm>
            <a:custGeom>
              <a:avLst/>
              <a:gdLst>
                <a:gd name="T0" fmla="*/ 181 w 1451"/>
                <a:gd name="T1" fmla="*/ 2410 h 2514"/>
                <a:gd name="T2" fmla="*/ 181 w 1451"/>
                <a:gd name="T3" fmla="*/ 2410 h 2514"/>
                <a:gd name="T4" fmla="*/ 1451 w 1451"/>
                <a:gd name="T5" fmla="*/ 211 h 2514"/>
                <a:gd name="T6" fmla="*/ 1451 w 1451"/>
                <a:gd name="T7" fmla="*/ 0 h 2514"/>
                <a:gd name="T8" fmla="*/ 0 w 1451"/>
                <a:gd name="T9" fmla="*/ 2514 h 2514"/>
                <a:gd name="T10" fmla="*/ 181 w 1451"/>
                <a:gd name="T11" fmla="*/ 2410 h 2514"/>
              </a:gdLst>
              <a:ahLst/>
              <a:cxnLst>
                <a:cxn ang="0">
                  <a:pos x="T0" y="T1"/>
                </a:cxn>
                <a:cxn ang="0">
                  <a:pos x="T2" y="T3"/>
                </a:cxn>
                <a:cxn ang="0">
                  <a:pos x="T4" y="T5"/>
                </a:cxn>
                <a:cxn ang="0">
                  <a:pos x="T6" y="T7"/>
                </a:cxn>
                <a:cxn ang="0">
                  <a:pos x="T8" y="T9"/>
                </a:cxn>
                <a:cxn ang="0">
                  <a:pos x="T10" y="T11"/>
                </a:cxn>
              </a:cxnLst>
              <a:rect l="0" t="0" r="r" b="b"/>
              <a:pathLst>
                <a:path w="1451" h="2514">
                  <a:moveTo>
                    <a:pt x="181" y="2410"/>
                  </a:moveTo>
                  <a:lnTo>
                    <a:pt x="181" y="2410"/>
                  </a:lnTo>
                  <a:lnTo>
                    <a:pt x="1451" y="211"/>
                  </a:lnTo>
                  <a:lnTo>
                    <a:pt x="1451" y="0"/>
                  </a:lnTo>
                  <a:lnTo>
                    <a:pt x="0" y="2514"/>
                  </a:lnTo>
                  <a:lnTo>
                    <a:pt x="181" y="2410"/>
                  </a:lnTo>
                  <a:close/>
                </a:path>
              </a:pathLst>
            </a:custGeom>
            <a:solidFill>
              <a:schemeClr val="accent1"/>
            </a:solidFill>
            <a:ln w="0">
              <a:noFill/>
              <a:prstDash val="solid"/>
              <a:round/>
              <a:headEnd/>
              <a:tailEnd/>
            </a:ln>
          </p:spPr>
          <p:txBody>
            <a:bodyPr vert="horz" wrap="square" lIns="130629" tIns="65314" rIns="130629" bIns="653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53"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7" name="Freeform 7">
              <a:extLst>
                <a:ext uri="{FF2B5EF4-FFF2-40B4-BE49-F238E27FC236}">
                  <a16:creationId xmlns:a16="http://schemas.microsoft.com/office/drawing/2014/main" id="{E7D88F7C-54AB-41EE-9EA0-EC5C65A83B06}"/>
                </a:ext>
              </a:extLst>
            </p:cNvPr>
            <p:cNvSpPr>
              <a:spLocks/>
            </p:cNvSpPr>
            <p:nvPr/>
          </p:nvSpPr>
          <p:spPr bwMode="gray">
            <a:xfrm>
              <a:off x="4389438" y="1223963"/>
              <a:ext cx="1387475" cy="2401888"/>
            </a:xfrm>
            <a:custGeom>
              <a:avLst/>
              <a:gdLst>
                <a:gd name="T0" fmla="*/ 0 w 1452"/>
                <a:gd name="T1" fmla="*/ 0 h 2514"/>
                <a:gd name="T2" fmla="*/ 0 w 1452"/>
                <a:gd name="T3" fmla="*/ 0 h 2514"/>
                <a:gd name="T4" fmla="*/ 0 w 1452"/>
                <a:gd name="T5" fmla="*/ 211 h 2514"/>
                <a:gd name="T6" fmla="*/ 1270 w 1452"/>
                <a:gd name="T7" fmla="*/ 2410 h 2514"/>
                <a:gd name="T8" fmla="*/ 1452 w 1452"/>
                <a:gd name="T9" fmla="*/ 2514 h 2514"/>
                <a:gd name="T10" fmla="*/ 0 w 1452"/>
                <a:gd name="T11" fmla="*/ 0 h 2514"/>
              </a:gdLst>
              <a:ahLst/>
              <a:cxnLst>
                <a:cxn ang="0">
                  <a:pos x="T0" y="T1"/>
                </a:cxn>
                <a:cxn ang="0">
                  <a:pos x="T2" y="T3"/>
                </a:cxn>
                <a:cxn ang="0">
                  <a:pos x="T4" y="T5"/>
                </a:cxn>
                <a:cxn ang="0">
                  <a:pos x="T6" y="T7"/>
                </a:cxn>
                <a:cxn ang="0">
                  <a:pos x="T8" y="T9"/>
                </a:cxn>
                <a:cxn ang="0">
                  <a:pos x="T10" y="T11"/>
                </a:cxn>
              </a:cxnLst>
              <a:rect l="0" t="0" r="r" b="b"/>
              <a:pathLst>
                <a:path w="1452" h="2514">
                  <a:moveTo>
                    <a:pt x="0" y="0"/>
                  </a:moveTo>
                  <a:lnTo>
                    <a:pt x="0" y="0"/>
                  </a:lnTo>
                  <a:lnTo>
                    <a:pt x="0" y="211"/>
                  </a:lnTo>
                  <a:lnTo>
                    <a:pt x="1270" y="2410"/>
                  </a:lnTo>
                  <a:lnTo>
                    <a:pt x="1452" y="2514"/>
                  </a:lnTo>
                  <a:lnTo>
                    <a:pt x="0" y="0"/>
                  </a:lnTo>
                  <a:close/>
                </a:path>
              </a:pathLst>
            </a:custGeom>
            <a:solidFill>
              <a:schemeClr val="accent6"/>
            </a:solidFill>
            <a:ln w="0">
              <a:noFill/>
              <a:prstDash val="solid"/>
              <a:round/>
              <a:headEnd/>
              <a:tailEnd/>
            </a:ln>
          </p:spPr>
          <p:txBody>
            <a:bodyPr vert="horz" wrap="square" lIns="130629" tIns="65314" rIns="130629" bIns="653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53"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19" name="Text Placeholder 3">
            <a:extLst>
              <a:ext uri="{FF2B5EF4-FFF2-40B4-BE49-F238E27FC236}">
                <a16:creationId xmlns:a16="http://schemas.microsoft.com/office/drawing/2014/main" id="{AF9D5385-755A-4488-A626-49F95418BAAE}"/>
              </a:ext>
            </a:extLst>
          </p:cNvPr>
          <p:cNvSpPr txBox="1">
            <a:spLocks/>
          </p:cNvSpPr>
          <p:nvPr/>
        </p:nvSpPr>
        <p:spPr bwMode="gray">
          <a:xfrm>
            <a:off x="1562632" y="3121323"/>
            <a:ext cx="2416906" cy="246221"/>
          </a:xfrm>
          <a:prstGeom prst="rect">
            <a:avLst/>
          </a:prstGeom>
        </p:spPr>
        <p:txBody>
          <a:bodyPr wrap="square" lIns="0" tIns="0" rIns="0" bIns="0">
            <a:spAutoFit/>
          </a:bodyPr>
          <a:lstStyle>
            <a:lvl1pPr marL="173038" indent="-17303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1pPr>
            <a:lvl2pPr marL="346075" indent="-17303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2pPr>
            <a:lvl3pPr marL="512763" indent="-16668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3pPr>
            <a:lvl4pPr marL="685800" indent="-17303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714"/>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Digital literacy</a:t>
            </a:r>
          </a:p>
        </p:txBody>
      </p:sp>
      <p:sp>
        <p:nvSpPr>
          <p:cNvPr id="20" name="Text Placeholder">
            <a:extLst>
              <a:ext uri="{FF2B5EF4-FFF2-40B4-BE49-F238E27FC236}">
                <a16:creationId xmlns:a16="http://schemas.microsoft.com/office/drawing/2014/main" id="{DF043403-FE54-4089-B4BE-9059C3711451}"/>
              </a:ext>
            </a:extLst>
          </p:cNvPr>
          <p:cNvSpPr txBox="1">
            <a:spLocks/>
          </p:cNvSpPr>
          <p:nvPr/>
        </p:nvSpPr>
        <p:spPr bwMode="gray">
          <a:xfrm>
            <a:off x="1265790" y="3705767"/>
            <a:ext cx="3004583" cy="1833835"/>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Information search and appraisal</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Functional skills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Effective communication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Sociocultural viewpoints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Critical thinking and evaluation</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E-safety </a:t>
            </a:r>
          </a:p>
        </p:txBody>
      </p:sp>
      <p:sp>
        <p:nvSpPr>
          <p:cNvPr id="22" name="Text Placeholder 4">
            <a:extLst>
              <a:ext uri="{FF2B5EF4-FFF2-40B4-BE49-F238E27FC236}">
                <a16:creationId xmlns:a16="http://schemas.microsoft.com/office/drawing/2014/main" id="{72295E75-54CD-4EF9-9C53-01E35653AB9B}"/>
              </a:ext>
            </a:extLst>
          </p:cNvPr>
          <p:cNvSpPr txBox="1">
            <a:spLocks/>
          </p:cNvSpPr>
          <p:nvPr/>
        </p:nvSpPr>
        <p:spPr bwMode="gray">
          <a:xfrm>
            <a:off x="7624786" y="3121323"/>
            <a:ext cx="2065707" cy="246221"/>
          </a:xfrm>
          <a:prstGeom prst="rect">
            <a:avLst/>
          </a:prstGeom>
        </p:spPr>
        <p:txBody>
          <a:bodyPr wrap="square" lIns="0" tIns="0" rIns="0" bIns="0">
            <a:spAutoFit/>
          </a:bodyPr>
          <a:lstStyle>
            <a:lvl1pPr marL="173038" indent="-17303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1pPr>
            <a:lvl2pPr marL="346075" indent="-17303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2pPr>
            <a:lvl3pPr marL="512763" indent="-16668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3pPr>
            <a:lvl4pPr marL="685800" indent="-173038"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714"/>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Digital health literacy</a:t>
            </a:r>
          </a:p>
        </p:txBody>
      </p:sp>
      <p:sp>
        <p:nvSpPr>
          <p:cNvPr id="23" name="Text Placeholder">
            <a:extLst>
              <a:ext uri="{FF2B5EF4-FFF2-40B4-BE49-F238E27FC236}">
                <a16:creationId xmlns:a16="http://schemas.microsoft.com/office/drawing/2014/main" id="{4772D904-3DE4-45A2-9F6B-3DEA20DBE6B8}"/>
              </a:ext>
            </a:extLst>
          </p:cNvPr>
          <p:cNvSpPr txBox="1">
            <a:spLocks/>
          </p:cNvSpPr>
          <p:nvPr/>
        </p:nvSpPr>
        <p:spPr bwMode="gray">
          <a:xfrm>
            <a:off x="7624785" y="3705767"/>
            <a:ext cx="3836745" cy="1513235"/>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Symptom and condition research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Provider and clinic search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Patient portal use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Medication adherence </a:t>
            </a:r>
          </a:p>
          <a:p>
            <a:pPr marL="169821" marR="0" lvl="0" indent="-169821" algn="l" defTabSz="914400" rtl="0" eaLnBrk="1" fontAlgn="ctr" latinLnBrk="0" hangingPunct="1">
              <a:lnSpc>
                <a:spcPct val="100000"/>
              </a:lnSpc>
              <a:spcBef>
                <a:spcPts val="714"/>
              </a:spcBef>
              <a:spcAft>
                <a:spcPts val="0"/>
              </a:spcAft>
              <a:buClr>
                <a:srgbClr val="CE0E2D"/>
              </a:buClr>
              <a:buSzTx/>
              <a:buFont typeface="Arial" panose="020B0604020202020204" pitchFamily="34" charset="0"/>
              <a:buChar char="•"/>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Telehealth appointments (phone or video)</a:t>
            </a:r>
          </a:p>
        </p:txBody>
      </p:sp>
      <p:pic>
        <p:nvPicPr>
          <p:cNvPr id="24" name="Picture 23">
            <a:extLst>
              <a:ext uri="{FF2B5EF4-FFF2-40B4-BE49-F238E27FC236}">
                <a16:creationId xmlns:a16="http://schemas.microsoft.com/office/drawing/2014/main" id="{9CA04DF9-E1EC-4492-97B8-0B751A8231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5686965" y="3310913"/>
            <a:ext cx="804794" cy="718564"/>
          </a:xfrm>
          <a:prstGeom prst="rect">
            <a:avLst/>
          </a:prstGeom>
        </p:spPr>
      </p:pic>
      <p:cxnSp>
        <p:nvCxnSpPr>
          <p:cNvPr id="25" name="Straight Connector 24">
            <a:extLst>
              <a:ext uri="{FF2B5EF4-FFF2-40B4-BE49-F238E27FC236}">
                <a16:creationId xmlns:a16="http://schemas.microsoft.com/office/drawing/2014/main" id="{2E1D59E0-6E83-4FF7-BDAE-27E4757F71F8}"/>
              </a:ext>
            </a:extLst>
          </p:cNvPr>
          <p:cNvCxnSpPr>
            <a:cxnSpLocks/>
          </p:cNvCxnSpPr>
          <p:nvPr/>
        </p:nvCxnSpPr>
        <p:spPr bwMode="gray">
          <a:xfrm>
            <a:off x="603627" y="1739900"/>
            <a:ext cx="10972803" cy="0"/>
          </a:xfrm>
          <a:prstGeom prst="line">
            <a:avLst/>
          </a:prstGeom>
          <a:ln w="19050">
            <a:solidFill>
              <a:schemeClr val="accent2"/>
            </a:solidFill>
            <a:prstDash val="sysDot"/>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0CD4A9F-3F55-4829-89DC-65113A990E9C}"/>
              </a:ext>
            </a:extLst>
          </p:cNvPr>
          <p:cNvSpPr txBox="1"/>
          <p:nvPr/>
        </p:nvSpPr>
        <p:spPr bwMode="gray">
          <a:xfrm>
            <a:off x="3804028" y="1616789"/>
            <a:ext cx="4572000" cy="246221"/>
          </a:xfrm>
          <a:prstGeom prst="rect">
            <a:avLst/>
          </a:prstGeom>
          <a:solidFill>
            <a:schemeClr val="tx2"/>
          </a:solidFill>
        </p:spPr>
        <p:txBody>
          <a:bodyPr vert="horz" wrap="square" lIns="0" tIns="0" rIns="0" bIns="0" rtlCol="0">
            <a:spAutoFit/>
          </a:bodyPr>
          <a:lstStyle/>
          <a:p>
            <a:pPr marL="0" marR="0" lvl="1"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Elements of digital and digital health literacy</a:t>
            </a:r>
          </a:p>
        </p:txBody>
      </p:sp>
    </p:spTree>
    <p:extLst>
      <p:ext uri="{BB962C8B-B14F-4D97-AF65-F5344CB8AC3E}">
        <p14:creationId xmlns:p14="http://schemas.microsoft.com/office/powerpoint/2010/main" val="1604133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2B237AAF-E6A4-4100-B6AE-8E580A7C3C4D}"/>
              </a:ext>
            </a:extLst>
          </p:cNvPr>
          <p:cNvCxnSpPr>
            <a:cxnSpLocks/>
          </p:cNvCxnSpPr>
          <p:nvPr/>
        </p:nvCxnSpPr>
        <p:spPr bwMode="gray">
          <a:xfrm flipH="1">
            <a:off x="6993466" y="4946575"/>
            <a:ext cx="5198534" cy="0"/>
          </a:xfrm>
          <a:prstGeom prst="line">
            <a:avLst/>
          </a:prstGeom>
          <a:ln w="133350">
            <a:solidFill>
              <a:schemeClr val="accent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a:xfrm>
            <a:off x="612773" y="544497"/>
            <a:ext cx="10966451" cy="540917"/>
          </a:xfrm>
        </p:spPr>
        <p:txBody>
          <a:bodyPr/>
          <a:lstStyle/>
          <a:p>
            <a:r>
              <a:rPr lang="en-US"/>
              <a:t>English proficiency exacerbates digital illiteracy </a:t>
            </a:r>
          </a:p>
        </p:txBody>
      </p:sp>
      <p:cxnSp>
        <p:nvCxnSpPr>
          <p:cNvPr id="19" name="Straight Connector 18"/>
          <p:cNvCxnSpPr>
            <a:cxnSpLocks/>
          </p:cNvCxnSpPr>
          <p:nvPr/>
        </p:nvCxnSpPr>
        <p:spPr bwMode="gray">
          <a:xfrm flipH="1">
            <a:off x="0" y="2685066"/>
            <a:ext cx="5207000" cy="0"/>
          </a:xfrm>
          <a:prstGeom prst="line">
            <a:avLst/>
          </a:prstGeom>
          <a:ln w="127000">
            <a:solidFill>
              <a:schemeClr val="accent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gray">
          <a:xfrm>
            <a:off x="4638686" y="2361038"/>
            <a:ext cx="2914620" cy="2914620"/>
          </a:xfrm>
          <a:prstGeom prst="ellipse">
            <a:avLst/>
          </a:prstGeom>
          <a:noFill/>
          <a:ln w="15240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714"/>
              </a:spcBef>
              <a:spcAft>
                <a:spcPts val="0"/>
              </a:spcAft>
              <a:buClrTx/>
              <a:buSzTx/>
              <a:buFontTx/>
              <a:buNone/>
              <a:tabLst/>
              <a:defRPr/>
            </a:pPr>
            <a:endParaRPr kumimoji="0" lang="en-US" sz="1429"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270FCD38-0A7B-44D5-B97E-7F17952EF3D3}"/>
              </a:ext>
            </a:extLst>
          </p:cNvPr>
          <p:cNvGrpSpPr/>
          <p:nvPr/>
        </p:nvGrpSpPr>
        <p:grpSpPr>
          <a:xfrm>
            <a:off x="5018293" y="2955782"/>
            <a:ext cx="2155405" cy="1615827"/>
            <a:chOff x="5017591" y="2967335"/>
            <a:chExt cx="2155405" cy="1615827"/>
          </a:xfrm>
        </p:grpSpPr>
        <p:sp>
          <p:nvSpPr>
            <p:cNvPr id="23" name="TextBox 22"/>
            <p:cNvSpPr txBox="1"/>
            <p:nvPr/>
          </p:nvSpPr>
          <p:spPr bwMode="gray">
            <a:xfrm>
              <a:off x="5087999" y="2967335"/>
              <a:ext cx="204871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CE0E2D"/>
                  </a:solidFill>
                  <a:effectLst/>
                  <a:uLnTx/>
                  <a:uFillTx/>
                  <a:latin typeface="Times New Roman" panose="02020603050405020304"/>
                  <a:ea typeface="+mn-ea"/>
                  <a:cs typeface="+mn-cs"/>
                </a:rPr>
                <a:t>67.3M</a:t>
              </a:r>
            </a:p>
          </p:txBody>
        </p:sp>
        <p:sp>
          <p:nvSpPr>
            <p:cNvPr id="28" name="Text Placeholder 1"/>
            <p:cNvSpPr txBox="1">
              <a:spLocks/>
            </p:cNvSpPr>
            <p:nvPr/>
          </p:nvSpPr>
          <p:spPr bwMode="gray">
            <a:xfrm>
              <a:off x="5017591" y="3890665"/>
              <a:ext cx="2155405" cy="692497"/>
            </a:xfrm>
            <a:prstGeom prst="rect">
              <a:avLst/>
            </a:prstGeom>
          </p:spPr>
          <p:txBody>
            <a:bodyPr vert="horz" wrap="square" lIns="0" tIns="0" rIns="0" bIns="0" rtlCol="0">
              <a:spAutoFit/>
            </a:bodyPr>
            <a:lstStyle>
              <a:lvl1pPr marL="1143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marL="0" marR="0" lvl="0" indent="0" algn="ctr" defTabSz="640080" rtl="0" eaLnBrk="1" fontAlgn="auto" latinLnBrk="0" hangingPunct="1">
                <a:lnSpc>
                  <a:spcPct val="100000"/>
                </a:lnSpc>
                <a:spcBef>
                  <a:spcPts val="714"/>
                </a:spcBef>
                <a:spcAft>
                  <a:spcPts val="0"/>
                </a:spcAft>
                <a:buClrTx/>
                <a:buSzTx/>
                <a:buFont typeface="Arial" pitchFamily="34" charset="0"/>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Of U.S. residents in 2018 spoke a language other than English at home </a:t>
              </a:r>
              <a:endParaRPr kumimoji="0" lang="en-US" sz="1500" b="0" i="0" u="none" strike="noStrike" kern="1200" cap="none" spc="0" normalizeH="0" baseline="0" noProof="0">
                <a:ln>
                  <a:noFill/>
                </a:ln>
                <a:solidFill>
                  <a:srgbClr val="445460"/>
                </a:solidFill>
                <a:effectLst/>
                <a:uLnTx/>
                <a:uFillTx/>
                <a:latin typeface="Arial" panose="020B0604020202020204"/>
                <a:ea typeface="+mn-ea"/>
                <a:cs typeface="+mn-cs"/>
              </a:endParaRPr>
            </a:p>
          </p:txBody>
        </p:sp>
      </p:grpSp>
      <p:sp>
        <p:nvSpPr>
          <p:cNvPr id="32" name="Text Placeholder 2">
            <a:extLst>
              <a:ext uri="{FF2B5EF4-FFF2-40B4-BE49-F238E27FC236}">
                <a16:creationId xmlns:a16="http://schemas.microsoft.com/office/drawing/2014/main" id="{8E3B1976-CF81-4272-A5A8-C329D66550D2}"/>
              </a:ext>
            </a:extLst>
          </p:cNvPr>
          <p:cNvSpPr txBox="1">
            <a:spLocks/>
          </p:cNvSpPr>
          <p:nvPr/>
        </p:nvSpPr>
        <p:spPr bwMode="gray">
          <a:xfrm>
            <a:off x="8336280" y="5844603"/>
            <a:ext cx="3240150" cy="323165"/>
          </a:xfrm>
          <a:prstGeom prst="rect">
            <a:avLst/>
          </a:prstGeom>
        </p:spPr>
        <p:txBody>
          <a:bodyPr vert="horz" wrap="square" lIns="0" tIns="0" rIns="0" bIns="0" rtlCol="0" anchor="b" anchorCtr="0">
            <a:spAutoFit/>
          </a:bodyPr>
          <a:lstStyle>
            <a:lvl1pPr marL="0" indent="0" algn="l" defTabSz="914400" rtl="0" eaLnBrk="1" fontAlgn="ctr" latinLnBrk="0" hangingPunct="1">
              <a:lnSpc>
                <a:spcPct val="100000"/>
              </a:lnSpc>
              <a:spcBef>
                <a:spcPts val="0"/>
              </a:spcBef>
              <a:buClr>
                <a:schemeClr val="accent6"/>
              </a:buClr>
              <a:buFont typeface="Arial" panose="020B0604020202020204" pitchFamily="34" charset="0"/>
              <a:buNone/>
              <a:defRPr sz="700" kern="1200" baseline="0">
                <a:solidFill>
                  <a:schemeClr val="accent2"/>
                </a:solidFill>
                <a:latin typeface="+mn-lt"/>
                <a:ea typeface="+mn-ea"/>
                <a:cs typeface="+mn-cs"/>
              </a:defRPr>
            </a:lvl1pPr>
            <a:lvl2pPr marL="1143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2pPr>
            <a:lvl3pPr marL="2286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3pPr>
            <a:lvl4pPr marL="3429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4pPr>
            <a:lvl5pPr marL="4572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0"/>
              </a:spcBef>
              <a:spcAft>
                <a:spcPts val="0"/>
              </a:spcAft>
              <a:buClr>
                <a:srgbClr val="CE0E2D"/>
              </a:buClr>
              <a:buSzTx/>
              <a:buFont typeface="Arial" panose="020B0604020202020204" pitchFamily="34" charset="0"/>
              <a:buNone/>
              <a:tabLst/>
              <a:defRPr/>
            </a:pP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rPr>
              <a:t>Source: Center for Immigration Studies, “</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67.3 million in the United States spoke a foreign language at home in 2018</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rPr>
              <a:t>;” Pew Research Center, “</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Smartphones help blacks, Hispanics bridge some—but not all—digital gaps with whites.</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rPr>
              <a:t>”</a:t>
            </a:r>
          </a:p>
        </p:txBody>
      </p:sp>
      <p:grpSp>
        <p:nvGrpSpPr>
          <p:cNvPr id="3" name="Group 2">
            <a:extLst>
              <a:ext uri="{FF2B5EF4-FFF2-40B4-BE49-F238E27FC236}">
                <a16:creationId xmlns:a16="http://schemas.microsoft.com/office/drawing/2014/main" id="{11A2852F-3B74-48B0-BAC7-FFC1E7A3FB2F}"/>
              </a:ext>
            </a:extLst>
          </p:cNvPr>
          <p:cNvGrpSpPr/>
          <p:nvPr/>
        </p:nvGrpSpPr>
        <p:grpSpPr>
          <a:xfrm rot="5400000">
            <a:off x="2847476" y="3835173"/>
            <a:ext cx="1867177" cy="1013796"/>
            <a:chOff x="3935940" y="5213387"/>
            <a:chExt cx="2305521" cy="337932"/>
          </a:xfrm>
        </p:grpSpPr>
        <p:cxnSp>
          <p:nvCxnSpPr>
            <p:cNvPr id="26" name="Straight Connector 25">
              <a:extLst>
                <a:ext uri="{FF2B5EF4-FFF2-40B4-BE49-F238E27FC236}">
                  <a16:creationId xmlns:a16="http://schemas.microsoft.com/office/drawing/2014/main" id="{813DF574-C2F6-4AD8-87E0-83A115CE4140}"/>
                </a:ext>
              </a:extLst>
            </p:cNvPr>
            <p:cNvCxnSpPr>
              <a:cxnSpLocks/>
            </p:cNvCxnSpPr>
            <p:nvPr/>
          </p:nvCxnSpPr>
          <p:spPr bwMode="gray">
            <a:xfrm>
              <a:off x="3935940" y="5551318"/>
              <a:ext cx="2305521" cy="1"/>
            </a:xfrm>
            <a:prstGeom prst="line">
              <a:avLst/>
            </a:prstGeom>
            <a:ln w="19050">
              <a:solidFill>
                <a:schemeClr val="accent2"/>
              </a:solidFill>
              <a:headEnd type="none" w="med" len="med"/>
              <a:tailEnd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75A64CC-CCD4-4D47-BA80-853439CFFBCB}"/>
                </a:ext>
              </a:extLst>
            </p:cNvPr>
            <p:cNvCxnSpPr>
              <a:cxnSpLocks/>
            </p:cNvCxnSpPr>
            <p:nvPr/>
          </p:nvCxnSpPr>
          <p:spPr bwMode="gray">
            <a:xfrm rot="16200000">
              <a:off x="4033046" y="5382352"/>
              <a:ext cx="337930" cy="0"/>
            </a:xfrm>
            <a:prstGeom prst="straightConnector1">
              <a:avLst/>
            </a:prstGeom>
            <a:ln w="19050">
              <a:solidFill>
                <a:schemeClr val="accent2"/>
              </a:solidFill>
              <a:headEnd type="none" w="med" len="med"/>
              <a:tailEnd type="oval"/>
            </a:ln>
          </p:spPr>
          <p:style>
            <a:lnRef idx="1">
              <a:schemeClr val="accent1"/>
            </a:lnRef>
            <a:fillRef idx="0">
              <a:schemeClr val="accent1"/>
            </a:fillRef>
            <a:effectRef idx="0">
              <a:schemeClr val="accent1"/>
            </a:effectRef>
            <a:fontRef idx="minor">
              <a:schemeClr val="tx1"/>
            </a:fontRef>
          </p:style>
        </p:cxnSp>
      </p:grpSp>
      <p:sp>
        <p:nvSpPr>
          <p:cNvPr id="31" name="Line Callout 1 30">
            <a:extLst>
              <a:ext uri="{FF2B5EF4-FFF2-40B4-BE49-F238E27FC236}">
                <a16:creationId xmlns:a16="http://schemas.microsoft.com/office/drawing/2014/main" id="{EC890656-8A00-448F-9360-6BF3421AE6AF}"/>
              </a:ext>
            </a:extLst>
          </p:cNvPr>
          <p:cNvSpPr/>
          <p:nvPr/>
        </p:nvSpPr>
        <p:spPr bwMode="gray">
          <a:xfrm>
            <a:off x="866368" y="3408478"/>
            <a:ext cx="2305521" cy="1867178"/>
          </a:xfrm>
          <a:prstGeom prst="rect">
            <a:avLst/>
          </a:prstGeom>
          <a:solidFill>
            <a:schemeClr val="accent1"/>
          </a:solidFill>
          <a:ln w="19050" cap="flat" cmpd="sng" algn="ctr">
            <a:noFill/>
            <a:prstDash val="solid"/>
            <a:miter lim="800000"/>
            <a:headEnd type="none" w="med" len="med"/>
            <a:tailEnd type="oval" w="med" len="med"/>
          </a:ln>
          <a:effectLst/>
        </p:spPr>
        <p:txBody>
          <a:bodyPr vert="horz" wrap="square" lIns="182880" tIns="137160" rIns="182880" bIns="13716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r>
              <a:rPr kumimoji="0" lang="en-US" sz="3600" b="0" i="0" u="none" strike="noStrike" kern="1200" cap="none" spc="0" normalizeH="0" baseline="0" noProof="0">
                <a:ln>
                  <a:noFill/>
                </a:ln>
                <a:solidFill>
                  <a:srgbClr val="222A30"/>
                </a:solidFill>
                <a:effectLst/>
                <a:uLnTx/>
                <a:uFillTx/>
                <a:latin typeface="Times New Roman" panose="02020603050405020304"/>
                <a:ea typeface="+mn-ea"/>
                <a:cs typeface="+mn-cs"/>
              </a:rPr>
              <a:t>38%</a:t>
            </a:r>
          </a:p>
          <a:p>
            <a:pPr marL="0" marR="0" lvl="0" indent="0" algn="l" defTabSz="914400" rtl="0" eaLnBrk="1" fontAlgn="auto" latinLnBrk="0" hangingPunct="1">
              <a:lnSpc>
                <a:spcPct val="100000"/>
              </a:lnSpc>
              <a:spcBef>
                <a:spcPts val="429"/>
              </a:spcBef>
              <a:spcAft>
                <a:spcPts val="0"/>
              </a:spcAft>
              <a:buClrTx/>
              <a:buSzTx/>
              <a:buFontTx/>
              <a:buNone/>
              <a:tabLst/>
              <a:defRPr/>
            </a:pPr>
            <a:r>
              <a:rPr kumimoji="0" lang="en-US" sz="1500" b="0" i="0" u="none" strike="noStrike" kern="1200" cap="none" spc="0" normalizeH="0" baseline="0" noProof="0">
                <a:ln>
                  <a:noFill/>
                </a:ln>
                <a:solidFill>
                  <a:srgbClr val="70787E"/>
                </a:solidFill>
                <a:effectLst/>
                <a:uLnTx/>
                <a:uFillTx/>
                <a:latin typeface="Arial" panose="020B0604020202020204"/>
                <a:ea typeface="+mn-ea"/>
                <a:cs typeface="+mn-cs"/>
              </a:rPr>
              <a:t>Reported to the Census Bureau that they speak English “less than very well” </a:t>
            </a:r>
          </a:p>
        </p:txBody>
      </p:sp>
      <p:grpSp>
        <p:nvGrpSpPr>
          <p:cNvPr id="33" name="Group 32">
            <a:extLst>
              <a:ext uri="{FF2B5EF4-FFF2-40B4-BE49-F238E27FC236}">
                <a16:creationId xmlns:a16="http://schemas.microsoft.com/office/drawing/2014/main" id="{28EBCCBD-E31E-4ADD-916B-9DE89D5C2717}"/>
              </a:ext>
            </a:extLst>
          </p:cNvPr>
          <p:cNvGrpSpPr/>
          <p:nvPr/>
        </p:nvGrpSpPr>
        <p:grpSpPr>
          <a:xfrm rot="16200000">
            <a:off x="6956824" y="2957513"/>
            <a:ext cx="2097997" cy="905035"/>
            <a:chOff x="4143683" y="1499419"/>
            <a:chExt cx="2305521" cy="905035"/>
          </a:xfrm>
        </p:grpSpPr>
        <p:cxnSp>
          <p:nvCxnSpPr>
            <p:cNvPr id="34" name="Straight Connector 33">
              <a:extLst>
                <a:ext uri="{FF2B5EF4-FFF2-40B4-BE49-F238E27FC236}">
                  <a16:creationId xmlns:a16="http://schemas.microsoft.com/office/drawing/2014/main" id="{79FD4621-CC6E-4289-AF81-05FD20E8FD81}"/>
                </a:ext>
              </a:extLst>
            </p:cNvPr>
            <p:cNvCxnSpPr>
              <a:cxnSpLocks/>
            </p:cNvCxnSpPr>
            <p:nvPr/>
          </p:nvCxnSpPr>
          <p:spPr bwMode="gray">
            <a:xfrm>
              <a:off x="4143683" y="2404453"/>
              <a:ext cx="2305521" cy="1"/>
            </a:xfrm>
            <a:prstGeom prst="line">
              <a:avLst/>
            </a:prstGeom>
            <a:ln w="19050">
              <a:solidFill>
                <a:schemeClr val="accent2"/>
              </a:solidFill>
              <a:headEnd type="none" w="med" len="med"/>
              <a:tailEnd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4FE89F6-A332-4718-ACAB-EC90A1309F1E}"/>
                </a:ext>
              </a:extLst>
            </p:cNvPr>
            <p:cNvCxnSpPr>
              <a:cxnSpLocks/>
            </p:cNvCxnSpPr>
            <p:nvPr/>
          </p:nvCxnSpPr>
          <p:spPr bwMode="gray">
            <a:xfrm rot="16200000">
              <a:off x="5699803" y="1951936"/>
              <a:ext cx="905033" cy="0"/>
            </a:xfrm>
            <a:prstGeom prst="straightConnector1">
              <a:avLst/>
            </a:prstGeom>
            <a:ln w="19050">
              <a:solidFill>
                <a:schemeClr val="accent2"/>
              </a:solidFill>
              <a:headEnd type="none" w="med" len="med"/>
              <a:tailEnd type="oval"/>
            </a:ln>
          </p:spPr>
          <p:style>
            <a:lnRef idx="1">
              <a:schemeClr val="accent1"/>
            </a:lnRef>
            <a:fillRef idx="0">
              <a:schemeClr val="accent1"/>
            </a:fillRef>
            <a:effectRef idx="0">
              <a:schemeClr val="accent1"/>
            </a:effectRef>
            <a:fontRef idx="minor">
              <a:schemeClr val="tx1"/>
            </a:fontRef>
          </p:style>
        </p:cxnSp>
      </p:grpSp>
      <p:sp>
        <p:nvSpPr>
          <p:cNvPr id="36" name="Line Callout 1 30">
            <a:extLst>
              <a:ext uri="{FF2B5EF4-FFF2-40B4-BE49-F238E27FC236}">
                <a16:creationId xmlns:a16="http://schemas.microsoft.com/office/drawing/2014/main" id="{58CEC363-18AE-4F4C-B09E-1F4B0E2EDB4C}"/>
              </a:ext>
            </a:extLst>
          </p:cNvPr>
          <p:cNvSpPr/>
          <p:nvPr/>
        </p:nvSpPr>
        <p:spPr bwMode="gray">
          <a:xfrm>
            <a:off x="8573891" y="2361034"/>
            <a:ext cx="2751737" cy="2098010"/>
          </a:xfrm>
          <a:prstGeom prst="rect">
            <a:avLst/>
          </a:prstGeom>
          <a:solidFill>
            <a:schemeClr val="accent1"/>
          </a:solidFill>
          <a:ln w="19050" cap="flat" cmpd="sng" algn="ctr">
            <a:noFill/>
            <a:prstDash val="solid"/>
            <a:miter lim="800000"/>
            <a:headEnd type="none" w="med" len="med"/>
            <a:tailEnd type="oval" w="med" len="med"/>
          </a:ln>
          <a:effectLst/>
        </p:spPr>
        <p:txBody>
          <a:bodyPr vert="horz" wrap="square" lIns="182880" tIns="137160" rIns="182880" bIns="13716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r>
              <a:rPr kumimoji="0" lang="en-US" sz="3600" b="0" i="0" u="none" strike="noStrike" kern="1200" cap="none" spc="0" normalizeH="0" baseline="0" noProof="0">
                <a:ln>
                  <a:noFill/>
                </a:ln>
                <a:solidFill>
                  <a:srgbClr val="222A30"/>
                </a:solidFill>
                <a:effectLst/>
                <a:uLnTx/>
                <a:uFillTx/>
                <a:latin typeface="Times New Roman" panose="02020603050405020304"/>
                <a:ea typeface="+mn-ea"/>
                <a:cs typeface="+mn-cs"/>
              </a:rPr>
              <a:t>48%</a:t>
            </a:r>
          </a:p>
          <a:p>
            <a:pPr marL="0" marR="0" lvl="0" indent="0" algn="l" defTabSz="914400" rtl="0" eaLnBrk="1" fontAlgn="auto" latinLnBrk="0" hangingPunct="1">
              <a:lnSpc>
                <a:spcPct val="100000"/>
              </a:lnSpc>
              <a:spcBef>
                <a:spcPts val="429"/>
              </a:spcBef>
              <a:spcAft>
                <a:spcPts val="0"/>
              </a:spcAft>
              <a:buClrTx/>
              <a:buSzTx/>
              <a:buFontTx/>
              <a:buNone/>
              <a:tabLst/>
              <a:defRPr/>
            </a:pPr>
            <a:r>
              <a:rPr kumimoji="0" lang="en-US" sz="1500" b="0" i="0" u="none" strike="noStrike" kern="1200" cap="none" spc="0" normalizeH="0" baseline="0" noProof="0">
                <a:ln>
                  <a:noFill/>
                </a:ln>
                <a:solidFill>
                  <a:srgbClr val="70787E"/>
                </a:solidFill>
                <a:effectLst/>
                <a:uLnTx/>
                <a:uFillTx/>
                <a:latin typeface="Arial" panose="020B0604020202020204"/>
                <a:ea typeface="+mn-ea"/>
                <a:cs typeface="+mn-cs"/>
              </a:rPr>
              <a:t>Of native Spanish speakers in the U.S. say digital literacy training would help “a lot” in making important decisions. </a:t>
            </a:r>
          </a:p>
        </p:txBody>
      </p:sp>
      <p:sp>
        <p:nvSpPr>
          <p:cNvPr id="24" name="Oval 23">
            <a:extLst>
              <a:ext uri="{FF2B5EF4-FFF2-40B4-BE49-F238E27FC236}">
                <a16:creationId xmlns:a16="http://schemas.microsoft.com/office/drawing/2014/main" id="{43ADDE3B-86A9-4128-BE37-E3BD8D1D8399}"/>
              </a:ext>
            </a:extLst>
          </p:cNvPr>
          <p:cNvSpPr/>
          <p:nvPr/>
        </p:nvSpPr>
        <p:spPr bwMode="gray">
          <a:xfrm>
            <a:off x="4638685" y="2361036"/>
            <a:ext cx="2914620" cy="2914620"/>
          </a:xfrm>
          <a:prstGeom prst="ellipse">
            <a:avLst/>
          </a:prstGeom>
          <a:no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714"/>
              </a:spcBef>
              <a:spcAft>
                <a:spcPts val="0"/>
              </a:spcAft>
              <a:buClrTx/>
              <a:buSzTx/>
              <a:buFontTx/>
              <a:buNone/>
              <a:tabLst/>
              <a:defRPr/>
            </a:pPr>
            <a:endParaRPr kumimoji="0" lang="en-US" sz="1429"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41399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2773" y="544497"/>
            <a:ext cx="10966451" cy="540917"/>
          </a:xfrm>
        </p:spPr>
        <p:txBody>
          <a:bodyPr/>
          <a:lstStyle/>
          <a:p>
            <a:r>
              <a:rPr lang="en-US"/>
              <a:t>Virtual care was not designed for non-English speakers</a:t>
            </a:r>
          </a:p>
        </p:txBody>
      </p:sp>
      <p:sp>
        <p:nvSpPr>
          <p:cNvPr id="32" name="Text Placeholder 2">
            <a:extLst>
              <a:ext uri="{FF2B5EF4-FFF2-40B4-BE49-F238E27FC236}">
                <a16:creationId xmlns:a16="http://schemas.microsoft.com/office/drawing/2014/main" id="{8E3B1976-CF81-4272-A5A8-C329D66550D2}"/>
              </a:ext>
            </a:extLst>
          </p:cNvPr>
          <p:cNvSpPr txBox="1">
            <a:spLocks/>
          </p:cNvSpPr>
          <p:nvPr/>
        </p:nvSpPr>
        <p:spPr bwMode="gray">
          <a:xfrm>
            <a:off x="9349740" y="5952324"/>
            <a:ext cx="2226690" cy="215444"/>
          </a:xfrm>
          <a:prstGeom prst="rect">
            <a:avLst/>
          </a:prstGeom>
        </p:spPr>
        <p:txBody>
          <a:bodyPr vert="horz" wrap="square" lIns="0" tIns="0" rIns="0" bIns="0" rtlCol="0" anchor="b" anchorCtr="0">
            <a:spAutoFit/>
          </a:bodyPr>
          <a:lstStyle>
            <a:lvl1pPr marL="0" indent="0" algn="l" defTabSz="914400" rtl="0" eaLnBrk="1" fontAlgn="ctr" latinLnBrk="0" hangingPunct="1">
              <a:lnSpc>
                <a:spcPct val="100000"/>
              </a:lnSpc>
              <a:spcBef>
                <a:spcPts val="0"/>
              </a:spcBef>
              <a:buClr>
                <a:schemeClr val="accent6"/>
              </a:buClr>
              <a:buFont typeface="Arial" panose="020B0604020202020204" pitchFamily="34" charset="0"/>
              <a:buNone/>
              <a:defRPr sz="700" kern="1200" baseline="0">
                <a:solidFill>
                  <a:schemeClr val="accent2"/>
                </a:solidFill>
                <a:latin typeface="+mn-lt"/>
                <a:ea typeface="+mn-ea"/>
                <a:cs typeface="+mn-cs"/>
              </a:defRPr>
            </a:lvl1pPr>
            <a:lvl2pPr marL="1143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2pPr>
            <a:lvl3pPr marL="2286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3pPr>
            <a:lvl4pPr marL="3429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4pPr>
            <a:lvl5pPr marL="4572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0"/>
              </a:spcBef>
              <a:spcAft>
                <a:spcPts val="0"/>
              </a:spcAft>
              <a:buClr>
                <a:srgbClr val="CE0E2D"/>
              </a:buClr>
              <a:buSzTx/>
              <a:buFont typeface="Arial" panose="020B0604020202020204" pitchFamily="34" charset="0"/>
              <a:buNone/>
              <a:tabLst/>
              <a:defRPr/>
            </a:pP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rPr>
              <a:t>Source: Westman, N., “</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hlinkClick r:id="rId3"/>
              </a:rPr>
              <a:t>Telehealth wasn’t designed for non-English speakers</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rPr>
              <a:t>,” </a:t>
            </a:r>
            <a:r>
              <a:rPr kumimoji="0" lang="en-US" sz="700" b="0" i="1" u="none" strike="noStrike" kern="1200" cap="none" spc="0" normalizeH="0" baseline="0" noProof="0">
                <a:ln>
                  <a:noFill/>
                </a:ln>
                <a:solidFill>
                  <a:srgbClr val="70787E"/>
                </a:solidFill>
                <a:effectLst/>
                <a:uLnTx/>
                <a:uFillTx/>
                <a:latin typeface="Arial" panose="020B0604020202020204"/>
                <a:ea typeface="+mn-ea"/>
                <a:cs typeface="+mn-cs"/>
              </a:rPr>
              <a:t>Verge, </a:t>
            </a:r>
            <a:r>
              <a:rPr kumimoji="0" lang="en-US" sz="700" b="0" i="0" u="none" strike="noStrike" kern="1200" cap="none" spc="0" normalizeH="0" baseline="0" noProof="0">
                <a:ln>
                  <a:noFill/>
                </a:ln>
                <a:solidFill>
                  <a:srgbClr val="70787E"/>
                </a:solidFill>
                <a:effectLst/>
                <a:uLnTx/>
                <a:uFillTx/>
                <a:latin typeface="Arial" panose="020B0604020202020204"/>
                <a:ea typeface="+mn-ea"/>
                <a:cs typeface="+mn-cs"/>
              </a:rPr>
              <a:t>June 2020. 	</a:t>
            </a:r>
          </a:p>
        </p:txBody>
      </p:sp>
      <p:sp>
        <p:nvSpPr>
          <p:cNvPr id="20" name="TextBox 19">
            <a:extLst>
              <a:ext uri="{FF2B5EF4-FFF2-40B4-BE49-F238E27FC236}">
                <a16:creationId xmlns:a16="http://schemas.microsoft.com/office/drawing/2014/main" id="{508F1DC7-E888-41AB-8207-023CFCB5BD24}"/>
              </a:ext>
            </a:extLst>
          </p:cNvPr>
          <p:cNvSpPr txBox="1"/>
          <p:nvPr/>
        </p:nvSpPr>
        <p:spPr bwMode="gray">
          <a:xfrm>
            <a:off x="1170261" y="2115577"/>
            <a:ext cx="3599948" cy="246221"/>
          </a:xfrm>
          <a:prstGeom prst="rect">
            <a:avLst/>
          </a:prstGeom>
          <a:solidFill>
            <a:schemeClr val="tx2"/>
          </a:solidFill>
        </p:spPr>
        <p:txBody>
          <a:bodyPr vert="horz" wrap="square" lIns="0" tIns="0" rIns="0" bIns="0" rtlCol="0">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Digital limitations for LEP</a:t>
            </a:r>
            <a:r>
              <a:rPr kumimoji="0" lang="en-US" sz="1600" b="1" i="0" u="none" strike="noStrike" kern="1200" cap="none" spc="0" normalizeH="0" baseline="30000" noProof="0">
                <a:ln>
                  <a:noFill/>
                </a:ln>
                <a:solidFill>
                  <a:srgbClr val="323E48"/>
                </a:solidFill>
                <a:effectLst/>
                <a:uLnTx/>
                <a:uFillTx/>
                <a:latin typeface="Arial" panose="020B0604020202020204"/>
                <a:ea typeface="+mn-ea"/>
                <a:cs typeface="+mn-cs"/>
              </a:rPr>
              <a:t>1</a:t>
            </a: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 patients</a:t>
            </a:r>
          </a:p>
        </p:txBody>
      </p:sp>
      <p:grpSp>
        <p:nvGrpSpPr>
          <p:cNvPr id="7" name="Group 6">
            <a:extLst>
              <a:ext uri="{FF2B5EF4-FFF2-40B4-BE49-F238E27FC236}">
                <a16:creationId xmlns:a16="http://schemas.microsoft.com/office/drawing/2014/main" id="{F9274506-2BAC-471B-B45A-0350EDD07891}"/>
              </a:ext>
            </a:extLst>
          </p:cNvPr>
          <p:cNvGrpSpPr/>
          <p:nvPr/>
        </p:nvGrpSpPr>
        <p:grpSpPr>
          <a:xfrm>
            <a:off x="1195295" y="2693802"/>
            <a:ext cx="3967860" cy="411356"/>
            <a:chOff x="7189695" y="2579502"/>
            <a:chExt cx="3967860" cy="411356"/>
          </a:xfrm>
        </p:grpSpPr>
        <p:sp>
          <p:nvSpPr>
            <p:cNvPr id="22" name="TextBox 21">
              <a:extLst>
                <a:ext uri="{FF2B5EF4-FFF2-40B4-BE49-F238E27FC236}">
                  <a16:creationId xmlns:a16="http://schemas.microsoft.com/office/drawing/2014/main" id="{BB0DCDC1-94CD-4435-AA69-EB2D4E6C36D0}"/>
                </a:ext>
              </a:extLst>
            </p:cNvPr>
            <p:cNvSpPr txBox="1"/>
            <p:nvPr/>
          </p:nvSpPr>
          <p:spPr bwMode="gray">
            <a:xfrm>
              <a:off x="7976482" y="2669764"/>
              <a:ext cx="3181073" cy="2308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Website and patient portal navigation </a:t>
              </a:r>
            </a:p>
          </p:txBody>
        </p:sp>
        <p:pic>
          <p:nvPicPr>
            <p:cNvPr id="37" name="Picture 36" descr="Icon&#10;&#10;Description automatically generated">
              <a:extLst>
                <a:ext uri="{FF2B5EF4-FFF2-40B4-BE49-F238E27FC236}">
                  <a16:creationId xmlns:a16="http://schemas.microsoft.com/office/drawing/2014/main" id="{7613072E-5DFD-4F55-B1F4-80A76CBA868E}"/>
                </a:ext>
              </a:extLst>
            </p:cNvPr>
            <p:cNvPicPr>
              <a:picLocks noChangeAspect="1"/>
            </p:cNvPicPr>
            <p:nvPr/>
          </p:nvPicPr>
          <p:blipFill>
            <a:blip r:embed="rId4"/>
            <a:stretch>
              <a:fillRect/>
            </a:stretch>
          </p:blipFill>
          <p:spPr>
            <a:xfrm>
              <a:off x="7189695" y="2579502"/>
              <a:ext cx="508253" cy="411356"/>
            </a:xfrm>
            <a:prstGeom prst="rect">
              <a:avLst/>
            </a:prstGeom>
          </p:spPr>
        </p:pic>
      </p:grpSp>
      <p:grpSp>
        <p:nvGrpSpPr>
          <p:cNvPr id="6" name="Group 5">
            <a:extLst>
              <a:ext uri="{FF2B5EF4-FFF2-40B4-BE49-F238E27FC236}">
                <a16:creationId xmlns:a16="http://schemas.microsoft.com/office/drawing/2014/main" id="{350CD666-CB9F-4870-BF29-97F455766262}"/>
              </a:ext>
            </a:extLst>
          </p:cNvPr>
          <p:cNvGrpSpPr/>
          <p:nvPr/>
        </p:nvGrpSpPr>
        <p:grpSpPr>
          <a:xfrm>
            <a:off x="1238838" y="3340677"/>
            <a:ext cx="3924317" cy="540918"/>
            <a:chOff x="7233238" y="3195540"/>
            <a:chExt cx="3924317" cy="540918"/>
          </a:xfrm>
        </p:grpSpPr>
        <p:sp>
          <p:nvSpPr>
            <p:cNvPr id="25" name="TextBox 24">
              <a:extLst>
                <a:ext uri="{FF2B5EF4-FFF2-40B4-BE49-F238E27FC236}">
                  <a16:creationId xmlns:a16="http://schemas.microsoft.com/office/drawing/2014/main" id="{E03DBD61-2B2C-4FAF-BF69-F9FC923713D7}"/>
                </a:ext>
              </a:extLst>
            </p:cNvPr>
            <p:cNvSpPr txBox="1"/>
            <p:nvPr/>
          </p:nvSpPr>
          <p:spPr bwMode="gray">
            <a:xfrm>
              <a:off x="7976482" y="3350583"/>
              <a:ext cx="3181073" cy="2308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Medication adherence</a:t>
              </a:r>
            </a:p>
          </p:txBody>
        </p:sp>
        <p:pic>
          <p:nvPicPr>
            <p:cNvPr id="38" name="Picture 37" descr="Icon&#10;&#10;Description automatically generated">
              <a:extLst>
                <a:ext uri="{FF2B5EF4-FFF2-40B4-BE49-F238E27FC236}">
                  <a16:creationId xmlns:a16="http://schemas.microsoft.com/office/drawing/2014/main" id="{3999337E-822B-4917-9EAC-FA5EC60DD55E}"/>
                </a:ext>
              </a:extLst>
            </p:cNvPr>
            <p:cNvPicPr>
              <a:picLocks noChangeAspect="1"/>
            </p:cNvPicPr>
            <p:nvPr/>
          </p:nvPicPr>
          <p:blipFill>
            <a:blip r:embed="rId5"/>
            <a:stretch>
              <a:fillRect/>
            </a:stretch>
          </p:blipFill>
          <p:spPr>
            <a:xfrm>
              <a:off x="7233238" y="3195540"/>
              <a:ext cx="343784" cy="540918"/>
            </a:xfrm>
            <a:prstGeom prst="rect">
              <a:avLst/>
            </a:prstGeom>
          </p:spPr>
        </p:pic>
      </p:grpSp>
      <p:grpSp>
        <p:nvGrpSpPr>
          <p:cNvPr id="4" name="Group 3">
            <a:extLst>
              <a:ext uri="{FF2B5EF4-FFF2-40B4-BE49-F238E27FC236}">
                <a16:creationId xmlns:a16="http://schemas.microsoft.com/office/drawing/2014/main" id="{68B7DFBE-59AD-4E3A-9FB3-FF2BF64A4733}"/>
              </a:ext>
            </a:extLst>
          </p:cNvPr>
          <p:cNvGrpSpPr/>
          <p:nvPr/>
        </p:nvGrpSpPr>
        <p:grpSpPr>
          <a:xfrm>
            <a:off x="1089625" y="4117114"/>
            <a:ext cx="4073530" cy="545145"/>
            <a:chOff x="7084025" y="3941140"/>
            <a:chExt cx="4073530" cy="545145"/>
          </a:xfrm>
        </p:grpSpPr>
        <p:sp>
          <p:nvSpPr>
            <p:cNvPr id="29" name="TextBox 28">
              <a:extLst>
                <a:ext uri="{FF2B5EF4-FFF2-40B4-BE49-F238E27FC236}">
                  <a16:creationId xmlns:a16="http://schemas.microsoft.com/office/drawing/2014/main" id="{8A68A2CC-F2AB-4F44-8E98-F4C5EE33FBFE}"/>
                </a:ext>
              </a:extLst>
            </p:cNvPr>
            <p:cNvSpPr txBox="1"/>
            <p:nvPr/>
          </p:nvSpPr>
          <p:spPr bwMode="gray">
            <a:xfrm>
              <a:off x="7976482" y="4098296"/>
              <a:ext cx="3181073" cy="2308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Telephone and video visits </a:t>
              </a:r>
            </a:p>
          </p:txBody>
        </p:sp>
        <p:pic>
          <p:nvPicPr>
            <p:cNvPr id="39" name="Picture 38" descr="Icon&#10;&#10;Description automatically generated">
              <a:extLst>
                <a:ext uri="{FF2B5EF4-FFF2-40B4-BE49-F238E27FC236}">
                  <a16:creationId xmlns:a16="http://schemas.microsoft.com/office/drawing/2014/main" id="{36788C8F-8F9B-4E30-AED5-BB846E8EDF0A}"/>
                </a:ext>
              </a:extLst>
            </p:cNvPr>
            <p:cNvPicPr>
              <a:picLocks noChangeAspect="1"/>
            </p:cNvPicPr>
            <p:nvPr/>
          </p:nvPicPr>
          <p:blipFill>
            <a:blip r:embed="rId6"/>
            <a:stretch>
              <a:fillRect/>
            </a:stretch>
          </p:blipFill>
          <p:spPr>
            <a:xfrm>
              <a:off x="7084025" y="3941140"/>
              <a:ext cx="719591" cy="545145"/>
            </a:xfrm>
            <a:prstGeom prst="rect">
              <a:avLst/>
            </a:prstGeom>
          </p:spPr>
        </p:pic>
      </p:grpSp>
      <p:grpSp>
        <p:nvGrpSpPr>
          <p:cNvPr id="2" name="Group 1">
            <a:extLst>
              <a:ext uri="{FF2B5EF4-FFF2-40B4-BE49-F238E27FC236}">
                <a16:creationId xmlns:a16="http://schemas.microsoft.com/office/drawing/2014/main" id="{92DDD2CB-24B0-4D07-8CDF-1B885555EF36}"/>
              </a:ext>
            </a:extLst>
          </p:cNvPr>
          <p:cNvGrpSpPr/>
          <p:nvPr/>
        </p:nvGrpSpPr>
        <p:grpSpPr>
          <a:xfrm>
            <a:off x="1119910" y="4897778"/>
            <a:ext cx="4462120" cy="482789"/>
            <a:chOff x="7114310" y="4783478"/>
            <a:chExt cx="4462120" cy="482789"/>
          </a:xfrm>
        </p:grpSpPr>
        <p:sp>
          <p:nvSpPr>
            <p:cNvPr id="40" name="TextBox 39">
              <a:extLst>
                <a:ext uri="{FF2B5EF4-FFF2-40B4-BE49-F238E27FC236}">
                  <a16:creationId xmlns:a16="http://schemas.microsoft.com/office/drawing/2014/main" id="{015C8E23-0E69-40BA-BC3C-1F6FD46C466B}"/>
                </a:ext>
              </a:extLst>
            </p:cNvPr>
            <p:cNvSpPr txBox="1"/>
            <p:nvPr/>
          </p:nvSpPr>
          <p:spPr bwMode="gray">
            <a:xfrm>
              <a:off x="7976482" y="4909456"/>
              <a:ext cx="3599948" cy="2308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Texts and appointment reminders</a:t>
              </a:r>
            </a:p>
          </p:txBody>
        </p:sp>
        <p:pic>
          <p:nvPicPr>
            <p:cNvPr id="41" name="Picture 40">
              <a:extLst>
                <a:ext uri="{FF2B5EF4-FFF2-40B4-BE49-F238E27FC236}">
                  <a16:creationId xmlns:a16="http://schemas.microsoft.com/office/drawing/2014/main" id="{A4A8816E-2126-47CF-8773-CDF28601A5D3}"/>
                </a:ext>
              </a:extLst>
            </p:cNvPr>
            <p:cNvPicPr>
              <a:picLocks noChangeAspect="1"/>
            </p:cNvPicPr>
            <p:nvPr/>
          </p:nvPicPr>
          <p:blipFill>
            <a:blip r:embed="rId7"/>
            <a:srcRect/>
            <a:stretch/>
          </p:blipFill>
          <p:spPr>
            <a:xfrm>
              <a:off x="7114310" y="4783478"/>
              <a:ext cx="583638" cy="482789"/>
            </a:xfrm>
            <a:prstGeom prst="rect">
              <a:avLst/>
            </a:prstGeom>
          </p:spPr>
        </p:pic>
      </p:grpSp>
      <p:sp>
        <p:nvSpPr>
          <p:cNvPr id="42" name="Text Placeholder 1">
            <a:extLst>
              <a:ext uri="{FF2B5EF4-FFF2-40B4-BE49-F238E27FC236}">
                <a16:creationId xmlns:a16="http://schemas.microsoft.com/office/drawing/2014/main" id="{38037266-5F5D-4D8F-9B85-D73B338BF022}"/>
              </a:ext>
            </a:extLst>
          </p:cNvPr>
          <p:cNvSpPr>
            <a:spLocks noGrp="1"/>
          </p:cNvSpPr>
          <p:nvPr>
            <p:ph type="body" sz="quarter" idx="28"/>
          </p:nvPr>
        </p:nvSpPr>
        <p:spPr>
          <a:xfrm>
            <a:off x="612773" y="6060046"/>
            <a:ext cx="3657600" cy="107722"/>
          </a:xfrm>
        </p:spPr>
        <p:txBody>
          <a:bodyPr/>
          <a:lstStyle/>
          <a:p>
            <a:r>
              <a:rPr lang="en-US"/>
              <a:t>Limited English Proficiency </a:t>
            </a:r>
          </a:p>
        </p:txBody>
      </p:sp>
      <p:grpSp>
        <p:nvGrpSpPr>
          <p:cNvPr id="43" name="Group 42">
            <a:extLst>
              <a:ext uri="{FF2B5EF4-FFF2-40B4-BE49-F238E27FC236}">
                <a16:creationId xmlns:a16="http://schemas.microsoft.com/office/drawing/2014/main" id="{3C610A3F-90D7-4388-8338-3C1EA4C5EEED}"/>
              </a:ext>
            </a:extLst>
          </p:cNvPr>
          <p:cNvGrpSpPr/>
          <p:nvPr/>
        </p:nvGrpSpPr>
        <p:grpSpPr>
          <a:xfrm>
            <a:off x="6329655" y="2160466"/>
            <a:ext cx="4623507" cy="3132172"/>
            <a:chOff x="7930692" y="1497730"/>
            <a:chExt cx="4623507" cy="3132172"/>
          </a:xfrm>
        </p:grpSpPr>
        <p:sp>
          <p:nvSpPr>
            <p:cNvPr id="44" name="TextBox 43">
              <a:extLst>
                <a:ext uri="{FF2B5EF4-FFF2-40B4-BE49-F238E27FC236}">
                  <a16:creationId xmlns:a16="http://schemas.microsoft.com/office/drawing/2014/main" id="{0EE24AA3-F7E6-4C7A-A7D2-0E0352F31C84}"/>
                </a:ext>
              </a:extLst>
            </p:cNvPr>
            <p:cNvSpPr txBox="1"/>
            <p:nvPr/>
          </p:nvSpPr>
          <p:spPr bwMode="gray">
            <a:xfrm>
              <a:off x="7970449" y="1664790"/>
              <a:ext cx="4583750" cy="2462213"/>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000" b="0" i="0" u="none" strike="noStrike" kern="1200" cap="none" spc="0" normalizeH="0" baseline="0" noProof="0">
                  <a:ln>
                    <a:noFill/>
                  </a:ln>
                  <a:solidFill>
                    <a:srgbClr val="323E48"/>
                  </a:solidFill>
                  <a:effectLst/>
                  <a:uLnTx/>
                  <a:uFillTx/>
                  <a:latin typeface="Times New Roman" panose="02020603050405020304"/>
                  <a:ea typeface="+mn-ea"/>
                  <a:cs typeface="+mn-cs"/>
                </a:rPr>
                <a:t>“I think we’re seeing what the system was built to do. We had built… these virtual care tools [that] weren’t for the limited English population. These tools were for the privileged. When we made the shift from these tools being privileged care to standard care, you see all the people who aren’t able to access them.”</a:t>
              </a:r>
            </a:p>
          </p:txBody>
        </p:sp>
        <p:cxnSp>
          <p:nvCxnSpPr>
            <p:cNvPr id="45" name="Straight Connector 44">
              <a:extLst>
                <a:ext uri="{FF2B5EF4-FFF2-40B4-BE49-F238E27FC236}">
                  <a16:creationId xmlns:a16="http://schemas.microsoft.com/office/drawing/2014/main" id="{4563827F-D1C2-4D0C-9515-35AE1176BEC3}"/>
                </a:ext>
              </a:extLst>
            </p:cNvPr>
            <p:cNvCxnSpPr>
              <a:cxnSpLocks/>
            </p:cNvCxnSpPr>
            <p:nvPr/>
          </p:nvCxnSpPr>
          <p:spPr bwMode="gray">
            <a:xfrm>
              <a:off x="9226550" y="4355112"/>
              <a:ext cx="2544148" cy="0"/>
            </a:xfrm>
            <a:prstGeom prst="line">
              <a:avLst/>
            </a:prstGeom>
            <a:ln w="19050">
              <a:solidFill>
                <a:schemeClr val="accent2"/>
              </a:solidFill>
              <a:headEnd type="none" w="med" len="med"/>
              <a:tailEnd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793F7A-F6AF-4780-88E7-0A81EFEF6CF0}"/>
                </a:ext>
              </a:extLst>
            </p:cNvPr>
            <p:cNvCxnSpPr>
              <a:cxnSpLocks/>
            </p:cNvCxnSpPr>
            <p:nvPr/>
          </p:nvCxnSpPr>
          <p:spPr bwMode="gray">
            <a:xfrm>
              <a:off x="7930692" y="1497730"/>
              <a:ext cx="4623507" cy="0"/>
            </a:xfrm>
            <a:prstGeom prst="line">
              <a:avLst/>
            </a:prstGeom>
            <a:ln w="19050">
              <a:solidFill>
                <a:schemeClr val="accent2"/>
              </a:solidFill>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2EF8C7B-D142-4477-A41B-4668E0EF038A}"/>
                </a:ext>
              </a:extLst>
            </p:cNvPr>
            <p:cNvSpPr/>
            <p:nvPr/>
          </p:nvSpPr>
          <p:spPr bwMode="gray">
            <a:xfrm>
              <a:off x="11107205" y="4102304"/>
              <a:ext cx="492093" cy="50561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C18B0F3F-7D78-44AE-90BD-FDE48C5905C2}"/>
                </a:ext>
              </a:extLst>
            </p:cNvPr>
            <p:cNvSpPr txBox="1"/>
            <p:nvPr/>
          </p:nvSpPr>
          <p:spPr bwMode="gray">
            <a:xfrm>
              <a:off x="7996037" y="4283653"/>
              <a:ext cx="2022209" cy="346249"/>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
                  <a:srgbClr val="CE0E2D"/>
                </a:buClr>
                <a:buSzTx/>
                <a:buFontTx/>
                <a:buNone/>
                <a:tabLst/>
                <a:defRPr/>
              </a:pPr>
              <a:r>
                <a:rPr kumimoji="0" lang="en-US" sz="1200" b="0" i="0" u="none" strike="noStrike" kern="1200" cap="none" spc="0" normalizeH="0" baseline="0" noProof="0">
                  <a:ln>
                    <a:noFill/>
                  </a:ln>
                  <a:solidFill>
                    <a:srgbClr val="323E48"/>
                  </a:solidFill>
                  <a:effectLst/>
                  <a:uLnTx/>
                  <a:uFillTx/>
                  <a:latin typeface="Arial" panose="020B0604020202020204"/>
                  <a:ea typeface="+mn-ea"/>
                  <a:cs typeface="+mn-cs"/>
                </a:rPr>
                <a:t>JORGE RODRIGUE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23E48"/>
                  </a:solidFill>
                  <a:effectLst/>
                  <a:uLnTx/>
                  <a:uFillTx/>
                  <a:latin typeface="Arial" panose="020B0604020202020204"/>
                  <a:ea typeface="+mn-ea"/>
                  <a:cs typeface="+mn-cs"/>
                </a:rPr>
                <a:t>Brigham and Women’s Hospital </a:t>
              </a:r>
            </a:p>
          </p:txBody>
        </p:sp>
        <p:grpSp>
          <p:nvGrpSpPr>
            <p:cNvPr id="49" name="Group 48">
              <a:extLst>
                <a:ext uri="{FF2B5EF4-FFF2-40B4-BE49-F238E27FC236}">
                  <a16:creationId xmlns:a16="http://schemas.microsoft.com/office/drawing/2014/main" id="{05BF63FB-D435-45C4-A21E-B1EF46177781}"/>
                </a:ext>
              </a:extLst>
            </p:cNvPr>
            <p:cNvGrpSpPr>
              <a:grpSpLocks noChangeAspect="1"/>
            </p:cNvGrpSpPr>
            <p:nvPr/>
          </p:nvGrpSpPr>
          <p:grpSpPr bwMode="gray">
            <a:xfrm rot="10800000">
              <a:off x="11142435" y="4171862"/>
              <a:ext cx="382880" cy="342404"/>
              <a:chOff x="220407" y="1389467"/>
              <a:chExt cx="294689" cy="263543"/>
            </a:xfrm>
            <a:solidFill>
              <a:schemeClr val="accent6"/>
            </a:solidFill>
          </p:grpSpPr>
          <p:sp>
            <p:nvSpPr>
              <p:cNvPr id="50" name="Freeform 12">
                <a:extLst>
                  <a:ext uri="{FF2B5EF4-FFF2-40B4-BE49-F238E27FC236}">
                    <a16:creationId xmlns:a16="http://schemas.microsoft.com/office/drawing/2014/main" id="{03AEB9F3-6736-40A1-9468-BD1B2EC204BF}"/>
                  </a:ext>
                </a:extLst>
              </p:cNvPr>
              <p:cNvSpPr>
                <a:spLocks/>
              </p:cNvSpPr>
              <p:nvPr/>
            </p:nvSpPr>
            <p:spPr bwMode="gray">
              <a:xfrm>
                <a:off x="373808" y="1389467"/>
                <a:ext cx="141288" cy="263525"/>
              </a:xfrm>
              <a:custGeom>
                <a:avLst/>
                <a:gdLst>
                  <a:gd name="T0" fmla="*/ 1467 w 1517"/>
                  <a:gd name="T1" fmla="*/ 169 h 2830"/>
                  <a:gd name="T2" fmla="*/ 1364 w 1517"/>
                  <a:gd name="T3" fmla="*/ 277 h 2830"/>
                  <a:gd name="T4" fmla="*/ 1246 w 1517"/>
                  <a:gd name="T5" fmla="*/ 406 h 2830"/>
                  <a:gd name="T6" fmla="*/ 1121 w 1517"/>
                  <a:gd name="T7" fmla="*/ 548 h 2830"/>
                  <a:gd name="T8" fmla="*/ 994 w 1517"/>
                  <a:gd name="T9" fmla="*/ 700 h 2830"/>
                  <a:gd name="T10" fmla="*/ 874 w 1517"/>
                  <a:gd name="T11" fmla="*/ 854 h 2830"/>
                  <a:gd name="T12" fmla="*/ 766 w 1517"/>
                  <a:gd name="T13" fmla="*/ 1006 h 2830"/>
                  <a:gd name="T14" fmla="*/ 676 w 1517"/>
                  <a:gd name="T15" fmla="*/ 1148 h 2830"/>
                  <a:gd name="T16" fmla="*/ 613 w 1517"/>
                  <a:gd name="T17" fmla="*/ 1277 h 2830"/>
                  <a:gd name="T18" fmla="*/ 581 w 1517"/>
                  <a:gd name="T19" fmla="*/ 1385 h 2830"/>
                  <a:gd name="T20" fmla="*/ 586 w 1517"/>
                  <a:gd name="T21" fmla="*/ 1451 h 2830"/>
                  <a:gd name="T22" fmla="*/ 615 w 1517"/>
                  <a:gd name="T23" fmla="*/ 1481 h 2830"/>
                  <a:gd name="T24" fmla="*/ 652 w 1517"/>
                  <a:gd name="T25" fmla="*/ 1493 h 2830"/>
                  <a:gd name="T26" fmla="*/ 679 w 1517"/>
                  <a:gd name="T27" fmla="*/ 1495 h 2830"/>
                  <a:gd name="T28" fmla="*/ 770 w 1517"/>
                  <a:gd name="T29" fmla="*/ 1496 h 2830"/>
                  <a:gd name="T30" fmla="*/ 873 w 1517"/>
                  <a:gd name="T31" fmla="*/ 1500 h 2830"/>
                  <a:gd name="T32" fmla="*/ 983 w 1517"/>
                  <a:gd name="T33" fmla="*/ 1512 h 2830"/>
                  <a:gd name="T34" fmla="*/ 1094 w 1517"/>
                  <a:gd name="T35" fmla="*/ 1535 h 2830"/>
                  <a:gd name="T36" fmla="*/ 1202 w 1517"/>
                  <a:gd name="T37" fmla="*/ 1574 h 2830"/>
                  <a:gd name="T38" fmla="*/ 1302 w 1517"/>
                  <a:gd name="T39" fmla="*/ 1632 h 2830"/>
                  <a:gd name="T40" fmla="*/ 1389 w 1517"/>
                  <a:gd name="T41" fmla="*/ 1714 h 2830"/>
                  <a:gd name="T42" fmla="*/ 1456 w 1517"/>
                  <a:gd name="T43" fmla="*/ 1822 h 2830"/>
                  <a:gd name="T44" fmla="*/ 1501 w 1517"/>
                  <a:gd name="T45" fmla="*/ 1959 h 2830"/>
                  <a:gd name="T46" fmla="*/ 1517 w 1517"/>
                  <a:gd name="T47" fmla="*/ 2132 h 2830"/>
                  <a:gd name="T48" fmla="*/ 1497 w 1517"/>
                  <a:gd name="T49" fmla="*/ 2279 h 2830"/>
                  <a:gd name="T50" fmla="*/ 1440 w 1517"/>
                  <a:gd name="T51" fmla="*/ 2424 h 2830"/>
                  <a:gd name="T52" fmla="*/ 1347 w 1517"/>
                  <a:gd name="T53" fmla="*/ 2559 h 2830"/>
                  <a:gd name="T54" fmla="*/ 1224 w 1517"/>
                  <a:gd name="T55" fmla="*/ 2676 h 2830"/>
                  <a:gd name="T56" fmla="*/ 1071 w 1517"/>
                  <a:gd name="T57" fmla="*/ 2766 h 2830"/>
                  <a:gd name="T58" fmla="*/ 891 w 1517"/>
                  <a:gd name="T59" fmla="*/ 2819 h 2830"/>
                  <a:gd name="T60" fmla="*/ 692 w 1517"/>
                  <a:gd name="T61" fmla="*/ 2828 h 2830"/>
                  <a:gd name="T62" fmla="*/ 513 w 1517"/>
                  <a:gd name="T63" fmla="*/ 2793 h 2830"/>
                  <a:gd name="T64" fmla="*/ 361 w 1517"/>
                  <a:gd name="T65" fmla="*/ 2723 h 2830"/>
                  <a:gd name="T66" fmla="*/ 237 w 1517"/>
                  <a:gd name="T67" fmla="*/ 2624 h 2830"/>
                  <a:gd name="T68" fmla="*/ 140 w 1517"/>
                  <a:gd name="T69" fmla="*/ 2503 h 2830"/>
                  <a:gd name="T70" fmla="*/ 68 w 1517"/>
                  <a:gd name="T71" fmla="*/ 2368 h 2830"/>
                  <a:gd name="T72" fmla="*/ 22 w 1517"/>
                  <a:gd name="T73" fmla="*/ 2224 h 2830"/>
                  <a:gd name="T74" fmla="*/ 2 w 1517"/>
                  <a:gd name="T75" fmla="*/ 2080 h 2830"/>
                  <a:gd name="T76" fmla="*/ 5 w 1517"/>
                  <a:gd name="T77" fmla="*/ 1929 h 2830"/>
                  <a:gd name="T78" fmla="*/ 29 w 1517"/>
                  <a:gd name="T79" fmla="*/ 1767 h 2830"/>
                  <a:gd name="T80" fmla="*/ 77 w 1517"/>
                  <a:gd name="T81" fmla="*/ 1595 h 2830"/>
                  <a:gd name="T82" fmla="*/ 152 w 1517"/>
                  <a:gd name="T83" fmla="*/ 1415 h 2830"/>
                  <a:gd name="T84" fmla="*/ 257 w 1517"/>
                  <a:gd name="T85" fmla="*/ 1222 h 2830"/>
                  <a:gd name="T86" fmla="*/ 394 w 1517"/>
                  <a:gd name="T87" fmla="*/ 1014 h 2830"/>
                  <a:gd name="T88" fmla="*/ 565 w 1517"/>
                  <a:gd name="T89" fmla="*/ 790 h 2830"/>
                  <a:gd name="T90" fmla="*/ 774 w 1517"/>
                  <a:gd name="T91" fmla="*/ 547 h 2830"/>
                  <a:gd name="T92" fmla="*/ 1024 w 1517"/>
                  <a:gd name="T93" fmla="*/ 285 h 2830"/>
                  <a:gd name="T94" fmla="*/ 1318 w 1517"/>
                  <a:gd name="T95" fmla="*/ 0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7" h="2830">
                    <a:moveTo>
                      <a:pt x="1318" y="0"/>
                    </a:moveTo>
                    <a:lnTo>
                      <a:pt x="1497" y="139"/>
                    </a:lnTo>
                    <a:lnTo>
                      <a:pt x="1467" y="169"/>
                    </a:lnTo>
                    <a:lnTo>
                      <a:pt x="1434" y="203"/>
                    </a:lnTo>
                    <a:lnTo>
                      <a:pt x="1399" y="239"/>
                    </a:lnTo>
                    <a:lnTo>
                      <a:pt x="1364" y="277"/>
                    </a:lnTo>
                    <a:lnTo>
                      <a:pt x="1326" y="318"/>
                    </a:lnTo>
                    <a:lnTo>
                      <a:pt x="1286" y="361"/>
                    </a:lnTo>
                    <a:lnTo>
                      <a:pt x="1246" y="406"/>
                    </a:lnTo>
                    <a:lnTo>
                      <a:pt x="1205" y="452"/>
                    </a:lnTo>
                    <a:lnTo>
                      <a:pt x="1163" y="499"/>
                    </a:lnTo>
                    <a:lnTo>
                      <a:pt x="1121" y="548"/>
                    </a:lnTo>
                    <a:lnTo>
                      <a:pt x="1078" y="598"/>
                    </a:lnTo>
                    <a:lnTo>
                      <a:pt x="1036" y="649"/>
                    </a:lnTo>
                    <a:lnTo>
                      <a:pt x="994" y="700"/>
                    </a:lnTo>
                    <a:lnTo>
                      <a:pt x="954" y="751"/>
                    </a:lnTo>
                    <a:lnTo>
                      <a:pt x="913" y="803"/>
                    </a:lnTo>
                    <a:lnTo>
                      <a:pt x="874" y="854"/>
                    </a:lnTo>
                    <a:lnTo>
                      <a:pt x="836" y="906"/>
                    </a:lnTo>
                    <a:lnTo>
                      <a:pt x="801" y="956"/>
                    </a:lnTo>
                    <a:lnTo>
                      <a:pt x="766" y="1006"/>
                    </a:lnTo>
                    <a:lnTo>
                      <a:pt x="733" y="1055"/>
                    </a:lnTo>
                    <a:lnTo>
                      <a:pt x="704" y="1102"/>
                    </a:lnTo>
                    <a:lnTo>
                      <a:pt x="676" y="1148"/>
                    </a:lnTo>
                    <a:lnTo>
                      <a:pt x="652" y="1193"/>
                    </a:lnTo>
                    <a:lnTo>
                      <a:pt x="630" y="1236"/>
                    </a:lnTo>
                    <a:lnTo>
                      <a:pt x="613" y="1277"/>
                    </a:lnTo>
                    <a:lnTo>
                      <a:pt x="599" y="1315"/>
                    </a:lnTo>
                    <a:lnTo>
                      <a:pt x="587" y="1351"/>
                    </a:lnTo>
                    <a:lnTo>
                      <a:pt x="581" y="1385"/>
                    </a:lnTo>
                    <a:lnTo>
                      <a:pt x="579" y="1415"/>
                    </a:lnTo>
                    <a:lnTo>
                      <a:pt x="580" y="1435"/>
                    </a:lnTo>
                    <a:lnTo>
                      <a:pt x="586" y="1451"/>
                    </a:lnTo>
                    <a:lnTo>
                      <a:pt x="594" y="1464"/>
                    </a:lnTo>
                    <a:lnTo>
                      <a:pt x="604" y="1474"/>
                    </a:lnTo>
                    <a:lnTo>
                      <a:pt x="615" y="1481"/>
                    </a:lnTo>
                    <a:lnTo>
                      <a:pt x="627" y="1487"/>
                    </a:lnTo>
                    <a:lnTo>
                      <a:pt x="639" y="1491"/>
                    </a:lnTo>
                    <a:lnTo>
                      <a:pt x="652" y="1493"/>
                    </a:lnTo>
                    <a:lnTo>
                      <a:pt x="663" y="1495"/>
                    </a:lnTo>
                    <a:lnTo>
                      <a:pt x="672" y="1495"/>
                    </a:lnTo>
                    <a:lnTo>
                      <a:pt x="679" y="1495"/>
                    </a:lnTo>
                    <a:lnTo>
                      <a:pt x="708" y="1495"/>
                    </a:lnTo>
                    <a:lnTo>
                      <a:pt x="738" y="1495"/>
                    </a:lnTo>
                    <a:lnTo>
                      <a:pt x="770" y="1496"/>
                    </a:lnTo>
                    <a:lnTo>
                      <a:pt x="804" y="1497"/>
                    </a:lnTo>
                    <a:lnTo>
                      <a:pt x="838" y="1498"/>
                    </a:lnTo>
                    <a:lnTo>
                      <a:pt x="873" y="1500"/>
                    </a:lnTo>
                    <a:lnTo>
                      <a:pt x="910" y="1503"/>
                    </a:lnTo>
                    <a:lnTo>
                      <a:pt x="946" y="1507"/>
                    </a:lnTo>
                    <a:lnTo>
                      <a:pt x="983" y="1512"/>
                    </a:lnTo>
                    <a:lnTo>
                      <a:pt x="1020" y="1518"/>
                    </a:lnTo>
                    <a:lnTo>
                      <a:pt x="1058" y="1526"/>
                    </a:lnTo>
                    <a:lnTo>
                      <a:pt x="1094" y="1535"/>
                    </a:lnTo>
                    <a:lnTo>
                      <a:pt x="1131" y="1547"/>
                    </a:lnTo>
                    <a:lnTo>
                      <a:pt x="1167" y="1560"/>
                    </a:lnTo>
                    <a:lnTo>
                      <a:pt x="1202" y="1574"/>
                    </a:lnTo>
                    <a:lnTo>
                      <a:pt x="1237" y="1591"/>
                    </a:lnTo>
                    <a:lnTo>
                      <a:pt x="1271" y="1611"/>
                    </a:lnTo>
                    <a:lnTo>
                      <a:pt x="1302" y="1632"/>
                    </a:lnTo>
                    <a:lnTo>
                      <a:pt x="1333" y="1657"/>
                    </a:lnTo>
                    <a:lnTo>
                      <a:pt x="1362" y="1684"/>
                    </a:lnTo>
                    <a:lnTo>
                      <a:pt x="1389" y="1714"/>
                    </a:lnTo>
                    <a:lnTo>
                      <a:pt x="1414" y="1746"/>
                    </a:lnTo>
                    <a:lnTo>
                      <a:pt x="1436" y="1782"/>
                    </a:lnTo>
                    <a:lnTo>
                      <a:pt x="1456" y="1822"/>
                    </a:lnTo>
                    <a:lnTo>
                      <a:pt x="1474" y="1863"/>
                    </a:lnTo>
                    <a:lnTo>
                      <a:pt x="1489" y="1910"/>
                    </a:lnTo>
                    <a:lnTo>
                      <a:pt x="1501" y="1959"/>
                    </a:lnTo>
                    <a:lnTo>
                      <a:pt x="1509" y="2013"/>
                    </a:lnTo>
                    <a:lnTo>
                      <a:pt x="1515" y="2071"/>
                    </a:lnTo>
                    <a:lnTo>
                      <a:pt x="1517" y="2132"/>
                    </a:lnTo>
                    <a:lnTo>
                      <a:pt x="1515" y="2180"/>
                    </a:lnTo>
                    <a:lnTo>
                      <a:pt x="1508" y="2229"/>
                    </a:lnTo>
                    <a:lnTo>
                      <a:pt x="1497" y="2279"/>
                    </a:lnTo>
                    <a:lnTo>
                      <a:pt x="1482" y="2328"/>
                    </a:lnTo>
                    <a:lnTo>
                      <a:pt x="1463" y="2376"/>
                    </a:lnTo>
                    <a:lnTo>
                      <a:pt x="1440" y="2424"/>
                    </a:lnTo>
                    <a:lnTo>
                      <a:pt x="1413" y="2470"/>
                    </a:lnTo>
                    <a:lnTo>
                      <a:pt x="1382" y="2515"/>
                    </a:lnTo>
                    <a:lnTo>
                      <a:pt x="1347" y="2559"/>
                    </a:lnTo>
                    <a:lnTo>
                      <a:pt x="1310" y="2601"/>
                    </a:lnTo>
                    <a:lnTo>
                      <a:pt x="1269" y="2640"/>
                    </a:lnTo>
                    <a:lnTo>
                      <a:pt x="1224" y="2676"/>
                    </a:lnTo>
                    <a:lnTo>
                      <a:pt x="1176" y="2710"/>
                    </a:lnTo>
                    <a:lnTo>
                      <a:pt x="1125" y="2739"/>
                    </a:lnTo>
                    <a:lnTo>
                      <a:pt x="1071" y="2766"/>
                    </a:lnTo>
                    <a:lnTo>
                      <a:pt x="1014" y="2788"/>
                    </a:lnTo>
                    <a:lnTo>
                      <a:pt x="954" y="2806"/>
                    </a:lnTo>
                    <a:lnTo>
                      <a:pt x="891" y="2819"/>
                    </a:lnTo>
                    <a:lnTo>
                      <a:pt x="826" y="2827"/>
                    </a:lnTo>
                    <a:lnTo>
                      <a:pt x="759" y="2830"/>
                    </a:lnTo>
                    <a:lnTo>
                      <a:pt x="692" y="2828"/>
                    </a:lnTo>
                    <a:lnTo>
                      <a:pt x="629" y="2821"/>
                    </a:lnTo>
                    <a:lnTo>
                      <a:pt x="570" y="2809"/>
                    </a:lnTo>
                    <a:lnTo>
                      <a:pt x="513" y="2793"/>
                    </a:lnTo>
                    <a:lnTo>
                      <a:pt x="459" y="2773"/>
                    </a:lnTo>
                    <a:lnTo>
                      <a:pt x="409" y="2750"/>
                    </a:lnTo>
                    <a:lnTo>
                      <a:pt x="361" y="2723"/>
                    </a:lnTo>
                    <a:lnTo>
                      <a:pt x="317" y="2692"/>
                    </a:lnTo>
                    <a:lnTo>
                      <a:pt x="275" y="2660"/>
                    </a:lnTo>
                    <a:lnTo>
                      <a:pt x="237" y="2624"/>
                    </a:lnTo>
                    <a:lnTo>
                      <a:pt x="202" y="2586"/>
                    </a:lnTo>
                    <a:lnTo>
                      <a:pt x="169" y="2546"/>
                    </a:lnTo>
                    <a:lnTo>
                      <a:pt x="140" y="2503"/>
                    </a:lnTo>
                    <a:lnTo>
                      <a:pt x="112" y="2459"/>
                    </a:lnTo>
                    <a:lnTo>
                      <a:pt x="89" y="2414"/>
                    </a:lnTo>
                    <a:lnTo>
                      <a:pt x="68" y="2368"/>
                    </a:lnTo>
                    <a:lnTo>
                      <a:pt x="50" y="2321"/>
                    </a:lnTo>
                    <a:lnTo>
                      <a:pt x="35" y="2273"/>
                    </a:lnTo>
                    <a:lnTo>
                      <a:pt x="22" y="2224"/>
                    </a:lnTo>
                    <a:lnTo>
                      <a:pt x="12" y="2176"/>
                    </a:lnTo>
                    <a:lnTo>
                      <a:pt x="6" y="2128"/>
                    </a:lnTo>
                    <a:lnTo>
                      <a:pt x="2" y="2080"/>
                    </a:lnTo>
                    <a:lnTo>
                      <a:pt x="0" y="2032"/>
                    </a:lnTo>
                    <a:lnTo>
                      <a:pt x="1" y="1980"/>
                    </a:lnTo>
                    <a:lnTo>
                      <a:pt x="5" y="1929"/>
                    </a:lnTo>
                    <a:lnTo>
                      <a:pt x="10" y="1876"/>
                    </a:lnTo>
                    <a:lnTo>
                      <a:pt x="18" y="1822"/>
                    </a:lnTo>
                    <a:lnTo>
                      <a:pt x="29" y="1767"/>
                    </a:lnTo>
                    <a:lnTo>
                      <a:pt x="43" y="1711"/>
                    </a:lnTo>
                    <a:lnTo>
                      <a:pt x="58" y="1654"/>
                    </a:lnTo>
                    <a:lnTo>
                      <a:pt x="77" y="1595"/>
                    </a:lnTo>
                    <a:lnTo>
                      <a:pt x="99" y="1536"/>
                    </a:lnTo>
                    <a:lnTo>
                      <a:pt x="124" y="1476"/>
                    </a:lnTo>
                    <a:lnTo>
                      <a:pt x="152" y="1415"/>
                    </a:lnTo>
                    <a:lnTo>
                      <a:pt x="183" y="1352"/>
                    </a:lnTo>
                    <a:lnTo>
                      <a:pt x="218" y="1288"/>
                    </a:lnTo>
                    <a:lnTo>
                      <a:pt x="257" y="1222"/>
                    </a:lnTo>
                    <a:lnTo>
                      <a:pt x="299" y="1154"/>
                    </a:lnTo>
                    <a:lnTo>
                      <a:pt x="344" y="1085"/>
                    </a:lnTo>
                    <a:lnTo>
                      <a:pt x="394" y="1014"/>
                    </a:lnTo>
                    <a:lnTo>
                      <a:pt x="447" y="942"/>
                    </a:lnTo>
                    <a:lnTo>
                      <a:pt x="504" y="866"/>
                    </a:lnTo>
                    <a:lnTo>
                      <a:pt x="565" y="790"/>
                    </a:lnTo>
                    <a:lnTo>
                      <a:pt x="630" y="711"/>
                    </a:lnTo>
                    <a:lnTo>
                      <a:pt x="700" y="631"/>
                    </a:lnTo>
                    <a:lnTo>
                      <a:pt x="774" y="547"/>
                    </a:lnTo>
                    <a:lnTo>
                      <a:pt x="853" y="463"/>
                    </a:lnTo>
                    <a:lnTo>
                      <a:pt x="936" y="375"/>
                    </a:lnTo>
                    <a:lnTo>
                      <a:pt x="1024" y="285"/>
                    </a:lnTo>
                    <a:lnTo>
                      <a:pt x="1117" y="193"/>
                    </a:lnTo>
                    <a:lnTo>
                      <a:pt x="1215" y="97"/>
                    </a:lnTo>
                    <a:lnTo>
                      <a:pt x="1318" y="0"/>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1" name="Freeform 13">
                <a:extLst>
                  <a:ext uri="{FF2B5EF4-FFF2-40B4-BE49-F238E27FC236}">
                    <a16:creationId xmlns:a16="http://schemas.microsoft.com/office/drawing/2014/main" id="{2DBEC44D-DE9F-44C5-8C5B-BC821DA8B2D1}"/>
                  </a:ext>
                </a:extLst>
              </p:cNvPr>
              <p:cNvSpPr>
                <a:spLocks/>
              </p:cNvSpPr>
              <p:nvPr/>
            </p:nvSpPr>
            <p:spPr bwMode="gray">
              <a:xfrm>
                <a:off x="220407" y="1389485"/>
                <a:ext cx="141288" cy="263525"/>
              </a:xfrm>
              <a:custGeom>
                <a:avLst/>
                <a:gdLst>
                  <a:gd name="T0" fmla="*/ 1471 w 1517"/>
                  <a:gd name="T1" fmla="*/ 165 h 2830"/>
                  <a:gd name="T2" fmla="*/ 1374 w 1517"/>
                  <a:gd name="T3" fmla="*/ 265 h 2830"/>
                  <a:gd name="T4" fmla="*/ 1256 w 1517"/>
                  <a:gd name="T5" fmla="*/ 394 h 2830"/>
                  <a:gd name="T6" fmla="*/ 1125 w 1517"/>
                  <a:gd name="T7" fmla="*/ 540 h 2830"/>
                  <a:gd name="T8" fmla="*/ 993 w 1517"/>
                  <a:gd name="T9" fmla="*/ 700 h 2830"/>
                  <a:gd name="T10" fmla="*/ 871 w 1517"/>
                  <a:gd name="T11" fmla="*/ 864 h 2830"/>
                  <a:gd name="T12" fmla="*/ 767 w 1517"/>
                  <a:gd name="T13" fmla="*/ 1025 h 2830"/>
                  <a:gd name="T14" fmla="*/ 689 w 1517"/>
                  <a:gd name="T15" fmla="*/ 1158 h 2830"/>
                  <a:gd name="T16" fmla="*/ 634 w 1517"/>
                  <a:gd name="T17" fmla="*/ 1253 h 2830"/>
                  <a:gd name="T18" fmla="*/ 603 w 1517"/>
                  <a:gd name="T19" fmla="*/ 1319 h 2830"/>
                  <a:gd name="T20" fmla="*/ 585 w 1517"/>
                  <a:gd name="T21" fmla="*/ 1363 h 2830"/>
                  <a:gd name="T22" fmla="*/ 579 w 1517"/>
                  <a:gd name="T23" fmla="*/ 1393 h 2830"/>
                  <a:gd name="T24" fmla="*/ 578 w 1517"/>
                  <a:gd name="T25" fmla="*/ 1415 h 2830"/>
                  <a:gd name="T26" fmla="*/ 591 w 1517"/>
                  <a:gd name="T27" fmla="*/ 1464 h 2830"/>
                  <a:gd name="T28" fmla="*/ 619 w 1517"/>
                  <a:gd name="T29" fmla="*/ 1487 h 2830"/>
                  <a:gd name="T30" fmla="*/ 655 w 1517"/>
                  <a:gd name="T31" fmla="*/ 1495 h 2830"/>
                  <a:gd name="T32" fmla="*/ 708 w 1517"/>
                  <a:gd name="T33" fmla="*/ 1495 h 2830"/>
                  <a:gd name="T34" fmla="*/ 804 w 1517"/>
                  <a:gd name="T35" fmla="*/ 1497 h 2830"/>
                  <a:gd name="T36" fmla="*/ 909 w 1517"/>
                  <a:gd name="T37" fmla="*/ 1503 h 2830"/>
                  <a:gd name="T38" fmla="*/ 1020 w 1517"/>
                  <a:gd name="T39" fmla="*/ 1518 h 2830"/>
                  <a:gd name="T40" fmla="*/ 1131 w 1517"/>
                  <a:gd name="T41" fmla="*/ 1547 h 2830"/>
                  <a:gd name="T42" fmla="*/ 1237 w 1517"/>
                  <a:gd name="T43" fmla="*/ 1591 h 2830"/>
                  <a:gd name="T44" fmla="*/ 1333 w 1517"/>
                  <a:gd name="T45" fmla="*/ 1657 h 2830"/>
                  <a:gd name="T46" fmla="*/ 1414 w 1517"/>
                  <a:gd name="T47" fmla="*/ 1746 h 2830"/>
                  <a:gd name="T48" fmla="*/ 1474 w 1517"/>
                  <a:gd name="T49" fmla="*/ 1863 h 2830"/>
                  <a:gd name="T50" fmla="*/ 1510 w 1517"/>
                  <a:gd name="T51" fmla="*/ 2013 h 2830"/>
                  <a:gd name="T52" fmla="*/ 1515 w 1517"/>
                  <a:gd name="T53" fmla="*/ 2180 h 2830"/>
                  <a:gd name="T54" fmla="*/ 1482 w 1517"/>
                  <a:gd name="T55" fmla="*/ 2328 h 2830"/>
                  <a:gd name="T56" fmla="*/ 1413 w 1517"/>
                  <a:gd name="T57" fmla="*/ 2470 h 2830"/>
                  <a:gd name="T58" fmla="*/ 1310 w 1517"/>
                  <a:gd name="T59" fmla="*/ 2601 h 2830"/>
                  <a:gd name="T60" fmla="*/ 1176 w 1517"/>
                  <a:gd name="T61" fmla="*/ 2710 h 2830"/>
                  <a:gd name="T62" fmla="*/ 1014 w 1517"/>
                  <a:gd name="T63" fmla="*/ 2788 h 2830"/>
                  <a:gd name="T64" fmla="*/ 826 w 1517"/>
                  <a:gd name="T65" fmla="*/ 2827 h 2830"/>
                  <a:gd name="T66" fmla="*/ 629 w 1517"/>
                  <a:gd name="T67" fmla="*/ 2821 h 2830"/>
                  <a:gd name="T68" fmla="*/ 459 w 1517"/>
                  <a:gd name="T69" fmla="*/ 2773 h 2830"/>
                  <a:gd name="T70" fmla="*/ 316 w 1517"/>
                  <a:gd name="T71" fmla="*/ 2692 h 2830"/>
                  <a:gd name="T72" fmla="*/ 201 w 1517"/>
                  <a:gd name="T73" fmla="*/ 2586 h 2830"/>
                  <a:gd name="T74" fmla="*/ 112 w 1517"/>
                  <a:gd name="T75" fmla="*/ 2459 h 2830"/>
                  <a:gd name="T76" fmla="*/ 50 w 1517"/>
                  <a:gd name="T77" fmla="*/ 2321 h 2830"/>
                  <a:gd name="T78" fmla="*/ 12 w 1517"/>
                  <a:gd name="T79" fmla="*/ 2176 h 2830"/>
                  <a:gd name="T80" fmla="*/ 0 w 1517"/>
                  <a:gd name="T81" fmla="*/ 2032 h 2830"/>
                  <a:gd name="T82" fmla="*/ 10 w 1517"/>
                  <a:gd name="T83" fmla="*/ 1876 h 2830"/>
                  <a:gd name="T84" fmla="*/ 42 w 1517"/>
                  <a:gd name="T85" fmla="*/ 1711 h 2830"/>
                  <a:gd name="T86" fmla="*/ 99 w 1517"/>
                  <a:gd name="T87" fmla="*/ 1536 h 2830"/>
                  <a:gd name="T88" fmla="*/ 184 w 1517"/>
                  <a:gd name="T89" fmla="*/ 1352 h 2830"/>
                  <a:gd name="T90" fmla="*/ 298 w 1517"/>
                  <a:gd name="T91" fmla="*/ 1154 h 2830"/>
                  <a:gd name="T92" fmla="*/ 446 w 1517"/>
                  <a:gd name="T93" fmla="*/ 942 h 2830"/>
                  <a:gd name="T94" fmla="*/ 630 w 1517"/>
                  <a:gd name="T95" fmla="*/ 711 h 2830"/>
                  <a:gd name="T96" fmla="*/ 853 w 1517"/>
                  <a:gd name="T97" fmla="*/ 463 h 2830"/>
                  <a:gd name="T98" fmla="*/ 1117 w 1517"/>
                  <a:gd name="T99" fmla="*/ 19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7" h="2830">
                    <a:moveTo>
                      <a:pt x="1317" y="0"/>
                    </a:moveTo>
                    <a:lnTo>
                      <a:pt x="1496" y="139"/>
                    </a:lnTo>
                    <a:lnTo>
                      <a:pt x="1471" y="165"/>
                    </a:lnTo>
                    <a:lnTo>
                      <a:pt x="1441" y="195"/>
                    </a:lnTo>
                    <a:lnTo>
                      <a:pt x="1409" y="229"/>
                    </a:lnTo>
                    <a:lnTo>
                      <a:pt x="1374" y="265"/>
                    </a:lnTo>
                    <a:lnTo>
                      <a:pt x="1336" y="305"/>
                    </a:lnTo>
                    <a:lnTo>
                      <a:pt x="1296" y="348"/>
                    </a:lnTo>
                    <a:lnTo>
                      <a:pt x="1256" y="394"/>
                    </a:lnTo>
                    <a:lnTo>
                      <a:pt x="1213" y="440"/>
                    </a:lnTo>
                    <a:lnTo>
                      <a:pt x="1169" y="489"/>
                    </a:lnTo>
                    <a:lnTo>
                      <a:pt x="1125" y="540"/>
                    </a:lnTo>
                    <a:lnTo>
                      <a:pt x="1081" y="593"/>
                    </a:lnTo>
                    <a:lnTo>
                      <a:pt x="1037" y="646"/>
                    </a:lnTo>
                    <a:lnTo>
                      <a:pt x="993" y="700"/>
                    </a:lnTo>
                    <a:lnTo>
                      <a:pt x="952" y="754"/>
                    </a:lnTo>
                    <a:lnTo>
                      <a:pt x="910" y="809"/>
                    </a:lnTo>
                    <a:lnTo>
                      <a:pt x="871" y="864"/>
                    </a:lnTo>
                    <a:lnTo>
                      <a:pt x="833" y="918"/>
                    </a:lnTo>
                    <a:lnTo>
                      <a:pt x="799" y="972"/>
                    </a:lnTo>
                    <a:lnTo>
                      <a:pt x="767" y="1025"/>
                    </a:lnTo>
                    <a:lnTo>
                      <a:pt x="738" y="1076"/>
                    </a:lnTo>
                    <a:lnTo>
                      <a:pt x="712" y="1120"/>
                    </a:lnTo>
                    <a:lnTo>
                      <a:pt x="689" y="1158"/>
                    </a:lnTo>
                    <a:lnTo>
                      <a:pt x="668" y="1194"/>
                    </a:lnTo>
                    <a:lnTo>
                      <a:pt x="650" y="1226"/>
                    </a:lnTo>
                    <a:lnTo>
                      <a:pt x="634" y="1253"/>
                    </a:lnTo>
                    <a:lnTo>
                      <a:pt x="622" y="1279"/>
                    </a:lnTo>
                    <a:lnTo>
                      <a:pt x="611" y="1300"/>
                    </a:lnTo>
                    <a:lnTo>
                      <a:pt x="603" y="1319"/>
                    </a:lnTo>
                    <a:lnTo>
                      <a:pt x="596" y="1336"/>
                    </a:lnTo>
                    <a:lnTo>
                      <a:pt x="590" y="1350"/>
                    </a:lnTo>
                    <a:lnTo>
                      <a:pt x="585" y="1363"/>
                    </a:lnTo>
                    <a:lnTo>
                      <a:pt x="582" y="1374"/>
                    </a:lnTo>
                    <a:lnTo>
                      <a:pt x="580" y="1384"/>
                    </a:lnTo>
                    <a:lnTo>
                      <a:pt x="579" y="1393"/>
                    </a:lnTo>
                    <a:lnTo>
                      <a:pt x="579" y="1401"/>
                    </a:lnTo>
                    <a:lnTo>
                      <a:pt x="578" y="1408"/>
                    </a:lnTo>
                    <a:lnTo>
                      <a:pt x="578" y="1415"/>
                    </a:lnTo>
                    <a:lnTo>
                      <a:pt x="580" y="1435"/>
                    </a:lnTo>
                    <a:lnTo>
                      <a:pt x="584" y="1451"/>
                    </a:lnTo>
                    <a:lnTo>
                      <a:pt x="591" y="1464"/>
                    </a:lnTo>
                    <a:lnTo>
                      <a:pt x="599" y="1474"/>
                    </a:lnTo>
                    <a:lnTo>
                      <a:pt x="608" y="1481"/>
                    </a:lnTo>
                    <a:lnTo>
                      <a:pt x="619" y="1487"/>
                    </a:lnTo>
                    <a:lnTo>
                      <a:pt x="631" y="1491"/>
                    </a:lnTo>
                    <a:lnTo>
                      <a:pt x="643" y="1493"/>
                    </a:lnTo>
                    <a:lnTo>
                      <a:pt x="655" y="1495"/>
                    </a:lnTo>
                    <a:lnTo>
                      <a:pt x="667" y="1495"/>
                    </a:lnTo>
                    <a:lnTo>
                      <a:pt x="678" y="1495"/>
                    </a:lnTo>
                    <a:lnTo>
                      <a:pt x="708" y="1495"/>
                    </a:lnTo>
                    <a:lnTo>
                      <a:pt x="737" y="1495"/>
                    </a:lnTo>
                    <a:lnTo>
                      <a:pt x="770" y="1496"/>
                    </a:lnTo>
                    <a:lnTo>
                      <a:pt x="804" y="1497"/>
                    </a:lnTo>
                    <a:lnTo>
                      <a:pt x="837" y="1498"/>
                    </a:lnTo>
                    <a:lnTo>
                      <a:pt x="873" y="1500"/>
                    </a:lnTo>
                    <a:lnTo>
                      <a:pt x="909" y="1503"/>
                    </a:lnTo>
                    <a:lnTo>
                      <a:pt x="946" y="1507"/>
                    </a:lnTo>
                    <a:lnTo>
                      <a:pt x="983" y="1512"/>
                    </a:lnTo>
                    <a:lnTo>
                      <a:pt x="1020" y="1518"/>
                    </a:lnTo>
                    <a:lnTo>
                      <a:pt x="1058" y="1526"/>
                    </a:lnTo>
                    <a:lnTo>
                      <a:pt x="1094" y="1535"/>
                    </a:lnTo>
                    <a:lnTo>
                      <a:pt x="1131" y="1547"/>
                    </a:lnTo>
                    <a:lnTo>
                      <a:pt x="1167" y="1560"/>
                    </a:lnTo>
                    <a:lnTo>
                      <a:pt x="1203" y="1574"/>
                    </a:lnTo>
                    <a:lnTo>
                      <a:pt x="1237" y="1591"/>
                    </a:lnTo>
                    <a:lnTo>
                      <a:pt x="1270" y="1611"/>
                    </a:lnTo>
                    <a:lnTo>
                      <a:pt x="1303" y="1632"/>
                    </a:lnTo>
                    <a:lnTo>
                      <a:pt x="1333" y="1657"/>
                    </a:lnTo>
                    <a:lnTo>
                      <a:pt x="1362" y="1684"/>
                    </a:lnTo>
                    <a:lnTo>
                      <a:pt x="1388" y="1714"/>
                    </a:lnTo>
                    <a:lnTo>
                      <a:pt x="1414" y="1746"/>
                    </a:lnTo>
                    <a:lnTo>
                      <a:pt x="1436" y="1782"/>
                    </a:lnTo>
                    <a:lnTo>
                      <a:pt x="1457" y="1822"/>
                    </a:lnTo>
                    <a:lnTo>
                      <a:pt x="1474" y="1863"/>
                    </a:lnTo>
                    <a:lnTo>
                      <a:pt x="1489" y="1910"/>
                    </a:lnTo>
                    <a:lnTo>
                      <a:pt x="1500" y="1959"/>
                    </a:lnTo>
                    <a:lnTo>
                      <a:pt x="1510" y="2013"/>
                    </a:lnTo>
                    <a:lnTo>
                      <a:pt x="1515" y="2071"/>
                    </a:lnTo>
                    <a:lnTo>
                      <a:pt x="1517" y="2132"/>
                    </a:lnTo>
                    <a:lnTo>
                      <a:pt x="1515" y="2180"/>
                    </a:lnTo>
                    <a:lnTo>
                      <a:pt x="1508" y="2229"/>
                    </a:lnTo>
                    <a:lnTo>
                      <a:pt x="1497" y="2279"/>
                    </a:lnTo>
                    <a:lnTo>
                      <a:pt x="1482" y="2328"/>
                    </a:lnTo>
                    <a:lnTo>
                      <a:pt x="1463" y="2376"/>
                    </a:lnTo>
                    <a:lnTo>
                      <a:pt x="1439" y="2424"/>
                    </a:lnTo>
                    <a:lnTo>
                      <a:pt x="1413" y="2470"/>
                    </a:lnTo>
                    <a:lnTo>
                      <a:pt x="1382" y="2515"/>
                    </a:lnTo>
                    <a:lnTo>
                      <a:pt x="1347" y="2559"/>
                    </a:lnTo>
                    <a:lnTo>
                      <a:pt x="1310" y="2601"/>
                    </a:lnTo>
                    <a:lnTo>
                      <a:pt x="1268" y="2640"/>
                    </a:lnTo>
                    <a:lnTo>
                      <a:pt x="1224" y="2676"/>
                    </a:lnTo>
                    <a:lnTo>
                      <a:pt x="1176" y="2710"/>
                    </a:lnTo>
                    <a:lnTo>
                      <a:pt x="1125" y="2739"/>
                    </a:lnTo>
                    <a:lnTo>
                      <a:pt x="1070" y="2766"/>
                    </a:lnTo>
                    <a:lnTo>
                      <a:pt x="1014" y="2788"/>
                    </a:lnTo>
                    <a:lnTo>
                      <a:pt x="954" y="2806"/>
                    </a:lnTo>
                    <a:lnTo>
                      <a:pt x="891" y="2819"/>
                    </a:lnTo>
                    <a:lnTo>
                      <a:pt x="826" y="2827"/>
                    </a:lnTo>
                    <a:lnTo>
                      <a:pt x="758" y="2830"/>
                    </a:lnTo>
                    <a:lnTo>
                      <a:pt x="693" y="2828"/>
                    </a:lnTo>
                    <a:lnTo>
                      <a:pt x="629" y="2821"/>
                    </a:lnTo>
                    <a:lnTo>
                      <a:pt x="569" y="2809"/>
                    </a:lnTo>
                    <a:lnTo>
                      <a:pt x="513" y="2793"/>
                    </a:lnTo>
                    <a:lnTo>
                      <a:pt x="459" y="2773"/>
                    </a:lnTo>
                    <a:lnTo>
                      <a:pt x="409" y="2750"/>
                    </a:lnTo>
                    <a:lnTo>
                      <a:pt x="361" y="2723"/>
                    </a:lnTo>
                    <a:lnTo>
                      <a:pt x="316" y="2692"/>
                    </a:lnTo>
                    <a:lnTo>
                      <a:pt x="275" y="2660"/>
                    </a:lnTo>
                    <a:lnTo>
                      <a:pt x="237" y="2624"/>
                    </a:lnTo>
                    <a:lnTo>
                      <a:pt x="201" y="2586"/>
                    </a:lnTo>
                    <a:lnTo>
                      <a:pt x="168" y="2546"/>
                    </a:lnTo>
                    <a:lnTo>
                      <a:pt x="139" y="2503"/>
                    </a:lnTo>
                    <a:lnTo>
                      <a:pt x="112" y="2459"/>
                    </a:lnTo>
                    <a:lnTo>
                      <a:pt x="89" y="2414"/>
                    </a:lnTo>
                    <a:lnTo>
                      <a:pt x="67" y="2368"/>
                    </a:lnTo>
                    <a:lnTo>
                      <a:pt x="50" y="2321"/>
                    </a:lnTo>
                    <a:lnTo>
                      <a:pt x="35" y="2273"/>
                    </a:lnTo>
                    <a:lnTo>
                      <a:pt x="22" y="2224"/>
                    </a:lnTo>
                    <a:lnTo>
                      <a:pt x="12" y="2176"/>
                    </a:lnTo>
                    <a:lnTo>
                      <a:pt x="5" y="2128"/>
                    </a:lnTo>
                    <a:lnTo>
                      <a:pt x="1" y="2080"/>
                    </a:lnTo>
                    <a:lnTo>
                      <a:pt x="0" y="2032"/>
                    </a:lnTo>
                    <a:lnTo>
                      <a:pt x="1" y="1980"/>
                    </a:lnTo>
                    <a:lnTo>
                      <a:pt x="4" y="1929"/>
                    </a:lnTo>
                    <a:lnTo>
                      <a:pt x="10" y="1876"/>
                    </a:lnTo>
                    <a:lnTo>
                      <a:pt x="18" y="1822"/>
                    </a:lnTo>
                    <a:lnTo>
                      <a:pt x="29" y="1767"/>
                    </a:lnTo>
                    <a:lnTo>
                      <a:pt x="42" y="1711"/>
                    </a:lnTo>
                    <a:lnTo>
                      <a:pt x="58" y="1654"/>
                    </a:lnTo>
                    <a:lnTo>
                      <a:pt x="78" y="1595"/>
                    </a:lnTo>
                    <a:lnTo>
                      <a:pt x="99" y="1536"/>
                    </a:lnTo>
                    <a:lnTo>
                      <a:pt x="124" y="1476"/>
                    </a:lnTo>
                    <a:lnTo>
                      <a:pt x="152" y="1415"/>
                    </a:lnTo>
                    <a:lnTo>
                      <a:pt x="184" y="1352"/>
                    </a:lnTo>
                    <a:lnTo>
                      <a:pt x="218" y="1288"/>
                    </a:lnTo>
                    <a:lnTo>
                      <a:pt x="256" y="1222"/>
                    </a:lnTo>
                    <a:lnTo>
                      <a:pt x="298" y="1154"/>
                    </a:lnTo>
                    <a:lnTo>
                      <a:pt x="344" y="1085"/>
                    </a:lnTo>
                    <a:lnTo>
                      <a:pt x="393" y="1014"/>
                    </a:lnTo>
                    <a:lnTo>
                      <a:pt x="446" y="942"/>
                    </a:lnTo>
                    <a:lnTo>
                      <a:pt x="503" y="866"/>
                    </a:lnTo>
                    <a:lnTo>
                      <a:pt x="565" y="790"/>
                    </a:lnTo>
                    <a:lnTo>
                      <a:pt x="630" y="711"/>
                    </a:lnTo>
                    <a:lnTo>
                      <a:pt x="700" y="631"/>
                    </a:lnTo>
                    <a:lnTo>
                      <a:pt x="774" y="547"/>
                    </a:lnTo>
                    <a:lnTo>
                      <a:pt x="853" y="463"/>
                    </a:lnTo>
                    <a:lnTo>
                      <a:pt x="936" y="375"/>
                    </a:lnTo>
                    <a:lnTo>
                      <a:pt x="1024" y="285"/>
                    </a:lnTo>
                    <a:lnTo>
                      <a:pt x="1117" y="193"/>
                    </a:lnTo>
                    <a:lnTo>
                      <a:pt x="1215" y="97"/>
                    </a:lnTo>
                    <a:lnTo>
                      <a:pt x="1317" y="0"/>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799900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937731-64E9-4579-93D5-6B9160AC5388}"/>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2F1EDDA0-3BC4-404A-B45D-F43585C06993}"/>
              </a:ext>
            </a:extLst>
          </p:cNvPr>
          <p:cNvSpPr>
            <a:spLocks noGrp="1"/>
          </p:cNvSpPr>
          <p:nvPr>
            <p:ph type="body" sz="quarter" idx="27"/>
          </p:nvPr>
        </p:nvSpPr>
        <p:spPr>
          <a:xfrm>
            <a:off x="8808720" y="5952324"/>
            <a:ext cx="2767710" cy="215444"/>
          </a:xfrm>
        </p:spPr>
        <p:txBody>
          <a:bodyPr/>
          <a:lstStyle/>
          <a:p>
            <a:r>
              <a:rPr lang="en-US"/>
              <a:t>Source: WRIC, “</a:t>
            </a:r>
            <a:r>
              <a:rPr lang="en-US">
                <a:hlinkClick r:id="rId3"/>
              </a:rPr>
              <a:t>Translation on Virginia Department of Health’s Website told readers they didn’t need the Covid-19 vaccine,</a:t>
            </a:r>
            <a:r>
              <a:rPr lang="en-US"/>
              <a:t>” 2021. </a:t>
            </a:r>
          </a:p>
        </p:txBody>
      </p:sp>
      <p:sp>
        <p:nvSpPr>
          <p:cNvPr id="4" name="Title 3">
            <a:extLst>
              <a:ext uri="{FF2B5EF4-FFF2-40B4-BE49-F238E27FC236}">
                <a16:creationId xmlns:a16="http://schemas.microsoft.com/office/drawing/2014/main" id="{37989C75-882E-4E1E-B37C-7EFFE1899056}"/>
              </a:ext>
            </a:extLst>
          </p:cNvPr>
          <p:cNvSpPr>
            <a:spLocks noGrp="1"/>
          </p:cNvSpPr>
          <p:nvPr>
            <p:ph type="title"/>
          </p:nvPr>
        </p:nvSpPr>
        <p:spPr/>
        <p:txBody>
          <a:bodyPr/>
          <a:lstStyle/>
          <a:p>
            <a:r>
              <a:rPr lang="en-US"/>
              <a:t>Google Translate is not enough </a:t>
            </a:r>
          </a:p>
        </p:txBody>
      </p:sp>
      <p:sp>
        <p:nvSpPr>
          <p:cNvPr id="7" name="TextBox 6">
            <a:extLst>
              <a:ext uri="{FF2B5EF4-FFF2-40B4-BE49-F238E27FC236}">
                <a16:creationId xmlns:a16="http://schemas.microsoft.com/office/drawing/2014/main" id="{61A104A4-311C-411B-9207-4F8DE9A169A2}"/>
              </a:ext>
            </a:extLst>
          </p:cNvPr>
          <p:cNvSpPr txBox="1"/>
          <p:nvPr/>
        </p:nvSpPr>
        <p:spPr bwMode="gray">
          <a:xfrm>
            <a:off x="641901" y="1745920"/>
            <a:ext cx="8340734" cy="246221"/>
          </a:xfrm>
          <a:prstGeom prst="rect">
            <a:avLst/>
          </a:prstGeom>
          <a:noFill/>
        </p:spPr>
        <p:txBody>
          <a:bodyPr wrap="square" lIns="0" tIns="0" rIns="0" bIns="0" rtlCol="0">
            <a:spAutoFit/>
          </a:bodyPr>
          <a:lstStyle/>
          <a:p>
            <a:r>
              <a:rPr lang="en-US" sz="1600" b="1"/>
              <a:t>Virginia Department of Health’s inaccurate translation of Covid-19 vaccine information  </a:t>
            </a:r>
          </a:p>
        </p:txBody>
      </p:sp>
      <p:sp>
        <p:nvSpPr>
          <p:cNvPr id="8" name="TextBox 7">
            <a:extLst>
              <a:ext uri="{FF2B5EF4-FFF2-40B4-BE49-F238E27FC236}">
                <a16:creationId xmlns:a16="http://schemas.microsoft.com/office/drawing/2014/main" id="{89BE908E-7F87-4014-8FE4-1668BD674829}"/>
              </a:ext>
            </a:extLst>
          </p:cNvPr>
          <p:cNvSpPr txBox="1"/>
          <p:nvPr/>
        </p:nvSpPr>
        <p:spPr bwMode="gray">
          <a:xfrm>
            <a:off x="1483411" y="3965331"/>
            <a:ext cx="3066240" cy="276999"/>
          </a:xfrm>
          <a:prstGeom prst="rect">
            <a:avLst/>
          </a:prstGeom>
        </p:spPr>
        <p:txBody>
          <a:bodyPr vert="horz" wrap="square" lIns="0" tIns="0" rIns="0" bIns="0" rtlCol="0">
            <a:spAutoFit/>
          </a:bodyPr>
          <a:lstStyle/>
          <a:p>
            <a:pPr>
              <a:spcBef>
                <a:spcPts val="600"/>
              </a:spcBef>
              <a:buClr>
                <a:schemeClr val="accent6"/>
              </a:buClr>
            </a:pPr>
            <a:r>
              <a:rPr lang="en-US"/>
              <a:t>“The vaccine is not </a:t>
            </a:r>
            <a:r>
              <a:rPr lang="en-US" b="1"/>
              <a:t>required</a:t>
            </a:r>
            <a:r>
              <a:rPr lang="en-US"/>
              <a:t>” </a:t>
            </a:r>
          </a:p>
        </p:txBody>
      </p:sp>
      <p:sp>
        <p:nvSpPr>
          <p:cNvPr id="10" name="TextBox 9">
            <a:extLst>
              <a:ext uri="{FF2B5EF4-FFF2-40B4-BE49-F238E27FC236}">
                <a16:creationId xmlns:a16="http://schemas.microsoft.com/office/drawing/2014/main" id="{BEDC73E2-779F-4E39-8F62-E8949B2365EE}"/>
              </a:ext>
            </a:extLst>
          </p:cNvPr>
          <p:cNvSpPr txBox="1"/>
          <p:nvPr/>
        </p:nvSpPr>
        <p:spPr bwMode="gray">
          <a:xfrm>
            <a:off x="7983491" y="3968009"/>
            <a:ext cx="3240741" cy="274321"/>
          </a:xfrm>
          <a:prstGeom prst="rect">
            <a:avLst/>
          </a:prstGeom>
        </p:spPr>
        <p:txBody>
          <a:bodyPr vert="horz" wrap="square" lIns="0" tIns="0" rIns="0" bIns="0" rtlCol="0">
            <a:spAutoFit/>
          </a:bodyPr>
          <a:lstStyle/>
          <a:p>
            <a:pPr>
              <a:spcBef>
                <a:spcPts val="600"/>
              </a:spcBef>
              <a:buClr>
                <a:schemeClr val="accent6"/>
              </a:buClr>
            </a:pPr>
            <a:r>
              <a:rPr lang="en-US"/>
              <a:t>“The vaccine is not </a:t>
            </a:r>
            <a:r>
              <a:rPr lang="en-US" b="1"/>
              <a:t>necessary</a:t>
            </a:r>
            <a:r>
              <a:rPr lang="en-US"/>
              <a:t>” </a:t>
            </a:r>
          </a:p>
        </p:txBody>
      </p:sp>
      <p:grpSp>
        <p:nvGrpSpPr>
          <p:cNvPr id="15" name="Group 14">
            <a:extLst>
              <a:ext uri="{FF2B5EF4-FFF2-40B4-BE49-F238E27FC236}">
                <a16:creationId xmlns:a16="http://schemas.microsoft.com/office/drawing/2014/main" id="{70341210-8EF3-4F1E-9E0E-9C43A2E02AE0}"/>
              </a:ext>
            </a:extLst>
          </p:cNvPr>
          <p:cNvGrpSpPr/>
          <p:nvPr/>
        </p:nvGrpSpPr>
        <p:grpSpPr>
          <a:xfrm>
            <a:off x="3236201" y="2256488"/>
            <a:ext cx="1034172" cy="778020"/>
            <a:chOff x="921750" y="2435223"/>
            <a:chExt cx="1034172" cy="778020"/>
          </a:xfrm>
        </p:grpSpPr>
        <p:pic>
          <p:nvPicPr>
            <p:cNvPr id="12" name="Picture 11" descr="Icon&#10;&#10;Description automatically generated">
              <a:extLst>
                <a:ext uri="{FF2B5EF4-FFF2-40B4-BE49-F238E27FC236}">
                  <a16:creationId xmlns:a16="http://schemas.microsoft.com/office/drawing/2014/main" id="{B8A7489F-1AAC-4E2F-A161-A1CA14526B43}"/>
                </a:ext>
              </a:extLst>
            </p:cNvPr>
            <p:cNvPicPr>
              <a:picLocks noChangeAspect="1"/>
            </p:cNvPicPr>
            <p:nvPr/>
          </p:nvPicPr>
          <p:blipFill>
            <a:blip r:embed="rId4"/>
            <a:stretch>
              <a:fillRect/>
            </a:stretch>
          </p:blipFill>
          <p:spPr>
            <a:xfrm>
              <a:off x="921750" y="2435223"/>
              <a:ext cx="774194" cy="685801"/>
            </a:xfrm>
            <a:prstGeom prst="rect">
              <a:avLst/>
            </a:prstGeom>
          </p:spPr>
        </p:pic>
        <p:pic>
          <p:nvPicPr>
            <p:cNvPr id="14" name="Picture 13" descr="A picture containing icon&#10;&#10;Description automatically generated">
              <a:extLst>
                <a:ext uri="{FF2B5EF4-FFF2-40B4-BE49-F238E27FC236}">
                  <a16:creationId xmlns:a16="http://schemas.microsoft.com/office/drawing/2014/main" id="{31A13868-00C0-49EF-B554-9BFC7CCAA541}"/>
                </a:ext>
              </a:extLst>
            </p:cNvPr>
            <p:cNvPicPr>
              <a:picLocks noChangeAspect="1"/>
            </p:cNvPicPr>
            <p:nvPr/>
          </p:nvPicPr>
          <p:blipFill>
            <a:blip r:embed="rId5"/>
            <a:stretch>
              <a:fillRect/>
            </a:stretch>
          </p:blipFill>
          <p:spPr>
            <a:xfrm>
              <a:off x="1270121" y="2527442"/>
              <a:ext cx="685801" cy="685801"/>
            </a:xfrm>
            <a:prstGeom prst="rect">
              <a:avLst/>
            </a:prstGeom>
          </p:spPr>
        </p:pic>
      </p:grpSp>
      <p:sp>
        <p:nvSpPr>
          <p:cNvPr id="13" name="TextBox 12">
            <a:extLst>
              <a:ext uri="{FF2B5EF4-FFF2-40B4-BE49-F238E27FC236}">
                <a16:creationId xmlns:a16="http://schemas.microsoft.com/office/drawing/2014/main" id="{E717665C-2062-4225-B2F7-81651008B980}"/>
              </a:ext>
            </a:extLst>
          </p:cNvPr>
          <p:cNvSpPr txBox="1"/>
          <p:nvPr/>
        </p:nvSpPr>
        <p:spPr bwMode="gray">
          <a:xfrm>
            <a:off x="4270373" y="2485954"/>
            <a:ext cx="3657600" cy="369332"/>
          </a:xfrm>
          <a:prstGeom prst="rect">
            <a:avLst/>
          </a:prstGeom>
        </p:spPr>
        <p:txBody>
          <a:bodyPr vert="horz" wrap="square" lIns="0" tIns="0" rIns="0" bIns="0" rtlCol="0">
            <a:spAutoFit/>
          </a:bodyPr>
          <a:lstStyle/>
          <a:p>
            <a:pPr algn="ctr">
              <a:spcBef>
                <a:spcPts val="600"/>
              </a:spcBef>
              <a:buClr>
                <a:schemeClr val="accent6"/>
              </a:buClr>
            </a:pPr>
            <a:r>
              <a:rPr lang="en-US" sz="2400" i="1">
                <a:latin typeface="+mj-lt"/>
              </a:rPr>
              <a:t>“La </a:t>
            </a:r>
            <a:r>
              <a:rPr lang="en-US" sz="2400" i="1" err="1">
                <a:latin typeface="+mj-lt"/>
              </a:rPr>
              <a:t>vacuna</a:t>
            </a:r>
            <a:r>
              <a:rPr lang="en-US" sz="2400" i="1">
                <a:latin typeface="+mj-lt"/>
              </a:rPr>
              <a:t> no es </a:t>
            </a:r>
            <a:r>
              <a:rPr lang="en-US" sz="2400" i="1" err="1">
                <a:latin typeface="+mj-lt"/>
              </a:rPr>
              <a:t>necesaria</a:t>
            </a:r>
            <a:r>
              <a:rPr lang="en-US" sz="2400" i="1">
                <a:latin typeface="+mj-lt"/>
              </a:rPr>
              <a:t>”</a:t>
            </a:r>
          </a:p>
        </p:txBody>
      </p:sp>
      <p:sp>
        <p:nvSpPr>
          <p:cNvPr id="19" name="L-Shape 18">
            <a:extLst>
              <a:ext uri="{FF2B5EF4-FFF2-40B4-BE49-F238E27FC236}">
                <a16:creationId xmlns:a16="http://schemas.microsoft.com/office/drawing/2014/main" id="{7404311E-CC9D-4A48-8F9B-64A759B06935}"/>
              </a:ext>
            </a:extLst>
          </p:cNvPr>
          <p:cNvSpPr>
            <a:spLocks noChangeAspect="1"/>
          </p:cNvSpPr>
          <p:nvPr/>
        </p:nvSpPr>
        <p:spPr bwMode="gray">
          <a:xfrm rot="18900000">
            <a:off x="986913" y="3950946"/>
            <a:ext cx="419084" cy="227739"/>
          </a:xfrm>
          <a:prstGeom prst="corner">
            <a:avLst>
              <a:gd name="adj1" fmla="val 27886"/>
              <a:gd name="adj2" fmla="val 27040"/>
            </a:avLst>
          </a:prstGeom>
          <a:solidFill>
            <a:srgbClr val="5CFFA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0" name="Multiply 43">
            <a:extLst>
              <a:ext uri="{FF2B5EF4-FFF2-40B4-BE49-F238E27FC236}">
                <a16:creationId xmlns:a16="http://schemas.microsoft.com/office/drawing/2014/main" id="{6835B1FE-B702-4A00-82EF-E9B0CAD6AA56}"/>
              </a:ext>
            </a:extLst>
          </p:cNvPr>
          <p:cNvSpPr>
            <a:spLocks noChangeAspect="1"/>
          </p:cNvSpPr>
          <p:nvPr/>
        </p:nvSpPr>
        <p:spPr bwMode="gray">
          <a:xfrm>
            <a:off x="7482361" y="3840892"/>
            <a:ext cx="501130" cy="501130"/>
          </a:xfrm>
          <a:prstGeom prst="mathMultiply">
            <a:avLst>
              <a:gd name="adj1" fmla="val 11892"/>
            </a:avLst>
          </a:prstGeom>
          <a:solidFill>
            <a:srgbClr val="EE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grpSp>
        <p:nvGrpSpPr>
          <p:cNvPr id="25" name="Group 24">
            <a:extLst>
              <a:ext uri="{FF2B5EF4-FFF2-40B4-BE49-F238E27FC236}">
                <a16:creationId xmlns:a16="http://schemas.microsoft.com/office/drawing/2014/main" id="{C4450CD2-06E0-44D6-B911-6D36F7D00EF7}"/>
              </a:ext>
            </a:extLst>
          </p:cNvPr>
          <p:cNvGrpSpPr/>
          <p:nvPr/>
        </p:nvGrpSpPr>
        <p:grpSpPr>
          <a:xfrm>
            <a:off x="2522584" y="3079536"/>
            <a:ext cx="7146832" cy="771554"/>
            <a:chOff x="2263868" y="3129814"/>
            <a:chExt cx="7980921" cy="771554"/>
          </a:xfrm>
        </p:grpSpPr>
        <p:grpSp>
          <p:nvGrpSpPr>
            <p:cNvPr id="24" name="Group 23">
              <a:extLst>
                <a:ext uri="{FF2B5EF4-FFF2-40B4-BE49-F238E27FC236}">
                  <a16:creationId xmlns:a16="http://schemas.microsoft.com/office/drawing/2014/main" id="{47223445-8F9C-4B5A-B45C-ADD2130B8E10}"/>
                </a:ext>
              </a:extLst>
            </p:cNvPr>
            <p:cNvGrpSpPr/>
            <p:nvPr/>
          </p:nvGrpSpPr>
          <p:grpSpPr>
            <a:xfrm>
              <a:off x="2418612" y="3129814"/>
              <a:ext cx="7680960" cy="534761"/>
              <a:chOff x="2418612" y="3024845"/>
              <a:chExt cx="7680960" cy="534761"/>
            </a:xfrm>
          </p:grpSpPr>
          <p:sp>
            <p:nvSpPr>
              <p:cNvPr id="17" name="Rectangle 95">
                <a:extLst>
                  <a:ext uri="{FF2B5EF4-FFF2-40B4-BE49-F238E27FC236}">
                    <a16:creationId xmlns:a16="http://schemas.microsoft.com/office/drawing/2014/main" id="{34610426-566E-4742-B429-86DA93D9F366}"/>
                  </a:ext>
                </a:extLst>
              </p:cNvPr>
              <p:cNvSpPr/>
              <p:nvPr/>
            </p:nvSpPr>
            <p:spPr bwMode="gray">
              <a:xfrm rot="16200000">
                <a:off x="6121932" y="-418034"/>
                <a:ext cx="274320" cy="7680960"/>
              </a:xfrm>
              <a:custGeom>
                <a:avLst/>
                <a:gdLst>
                  <a:gd name="connsiteX0" fmla="*/ 0 w 523731"/>
                  <a:gd name="connsiteY0" fmla="*/ 0 h 2405817"/>
                  <a:gd name="connsiteX1" fmla="*/ 523731 w 523731"/>
                  <a:gd name="connsiteY1" fmla="*/ 0 h 2405817"/>
                  <a:gd name="connsiteX2" fmla="*/ 523731 w 523731"/>
                  <a:gd name="connsiteY2" fmla="*/ 2405817 h 2405817"/>
                  <a:gd name="connsiteX3" fmla="*/ 0 w 523731"/>
                  <a:gd name="connsiteY3" fmla="*/ 2405817 h 2405817"/>
                  <a:gd name="connsiteX4" fmla="*/ 0 w 523731"/>
                  <a:gd name="connsiteY4" fmla="*/ 0 h 2405817"/>
                  <a:gd name="connsiteX0" fmla="*/ 0 w 523731"/>
                  <a:gd name="connsiteY0" fmla="*/ 0 h 2405817"/>
                  <a:gd name="connsiteX1" fmla="*/ 523731 w 523731"/>
                  <a:gd name="connsiteY1" fmla="*/ 0 h 2405817"/>
                  <a:gd name="connsiteX2" fmla="*/ 523731 w 523731"/>
                  <a:gd name="connsiteY2" fmla="*/ 2405817 h 2405817"/>
                  <a:gd name="connsiteX3" fmla="*/ 0 w 523731"/>
                  <a:gd name="connsiteY3" fmla="*/ 2405817 h 2405817"/>
                  <a:gd name="connsiteX4" fmla="*/ 91440 w 523731"/>
                  <a:gd name="connsiteY4" fmla="*/ 91440 h 2405817"/>
                  <a:gd name="connsiteX0" fmla="*/ 0 w 523731"/>
                  <a:gd name="connsiteY0" fmla="*/ 0 h 2405817"/>
                  <a:gd name="connsiteX1" fmla="*/ 523731 w 523731"/>
                  <a:gd name="connsiteY1" fmla="*/ 0 h 2405817"/>
                  <a:gd name="connsiteX2" fmla="*/ 523731 w 523731"/>
                  <a:gd name="connsiteY2" fmla="*/ 2405817 h 2405817"/>
                  <a:gd name="connsiteX3" fmla="*/ 0 w 523731"/>
                  <a:gd name="connsiteY3" fmla="*/ 2405817 h 2405817"/>
                </a:gdLst>
                <a:ahLst/>
                <a:cxnLst>
                  <a:cxn ang="0">
                    <a:pos x="connsiteX0" y="connsiteY0"/>
                  </a:cxn>
                  <a:cxn ang="0">
                    <a:pos x="connsiteX1" y="connsiteY1"/>
                  </a:cxn>
                  <a:cxn ang="0">
                    <a:pos x="connsiteX2" y="connsiteY2"/>
                  </a:cxn>
                  <a:cxn ang="0">
                    <a:pos x="connsiteX3" y="connsiteY3"/>
                  </a:cxn>
                </a:cxnLst>
                <a:rect l="l" t="t" r="r" b="b"/>
                <a:pathLst>
                  <a:path w="523731" h="2405817">
                    <a:moveTo>
                      <a:pt x="0" y="0"/>
                    </a:moveTo>
                    <a:lnTo>
                      <a:pt x="523731" y="0"/>
                    </a:lnTo>
                    <a:lnTo>
                      <a:pt x="523731" y="2405817"/>
                    </a:lnTo>
                    <a:lnTo>
                      <a:pt x="0" y="2405817"/>
                    </a:lnTo>
                  </a:path>
                </a:pathLst>
              </a:custGeom>
              <a:noFill/>
              <a:ln w="25400" cap="rnd">
                <a:solidFill>
                  <a:schemeClr val="accent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cxnSp>
            <p:nvCxnSpPr>
              <p:cNvPr id="18" name="Straight Connector 17">
                <a:extLst>
                  <a:ext uri="{FF2B5EF4-FFF2-40B4-BE49-F238E27FC236}">
                    <a16:creationId xmlns:a16="http://schemas.microsoft.com/office/drawing/2014/main" id="{CFB34CF8-2B44-4EC5-8BB9-402039575075}"/>
                  </a:ext>
                </a:extLst>
              </p:cNvPr>
              <p:cNvCxnSpPr>
                <a:cxnSpLocks/>
              </p:cNvCxnSpPr>
              <p:nvPr/>
            </p:nvCxnSpPr>
            <p:spPr bwMode="gray">
              <a:xfrm>
                <a:off x="6231125" y="3024845"/>
                <a:ext cx="0" cy="241189"/>
              </a:xfrm>
              <a:prstGeom prst="line">
                <a:avLst/>
              </a:prstGeom>
              <a:ln w="25400" cap="rnd">
                <a:solidFill>
                  <a:schemeClr val="accent2"/>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grpSp>
        <p:sp>
          <p:nvSpPr>
            <p:cNvPr id="22" name="Isosceles Triangle 21">
              <a:extLst>
                <a:ext uri="{FF2B5EF4-FFF2-40B4-BE49-F238E27FC236}">
                  <a16:creationId xmlns:a16="http://schemas.microsoft.com/office/drawing/2014/main" id="{A08EA6FA-1F9B-4B77-B889-62E025DCC838}"/>
                </a:ext>
              </a:extLst>
            </p:cNvPr>
            <p:cNvSpPr/>
            <p:nvPr/>
          </p:nvSpPr>
          <p:spPr bwMode="gray">
            <a:xfrm flipH="1" flipV="1">
              <a:off x="2263868" y="3639948"/>
              <a:ext cx="303247" cy="261420"/>
            </a:xfrm>
            <a:prstGeom prst="triangle">
              <a:avLst/>
            </a:prstGeom>
            <a:solidFill>
              <a:schemeClr val="accent4"/>
            </a:solidFill>
            <a:ln w="254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53">
                <a:solidFill>
                  <a:schemeClr val="tx1"/>
                </a:solidFill>
              </a:endParaRPr>
            </a:p>
          </p:txBody>
        </p:sp>
        <p:sp>
          <p:nvSpPr>
            <p:cNvPr id="23" name="Isosceles Triangle 22">
              <a:extLst>
                <a:ext uri="{FF2B5EF4-FFF2-40B4-BE49-F238E27FC236}">
                  <a16:creationId xmlns:a16="http://schemas.microsoft.com/office/drawing/2014/main" id="{B3CDD944-043C-48DB-9D3C-31F4DF943358}"/>
                </a:ext>
              </a:extLst>
            </p:cNvPr>
            <p:cNvSpPr/>
            <p:nvPr/>
          </p:nvSpPr>
          <p:spPr bwMode="gray">
            <a:xfrm flipH="1" flipV="1">
              <a:off x="9941542" y="3639948"/>
              <a:ext cx="303247" cy="261420"/>
            </a:xfrm>
            <a:prstGeom prst="triangle">
              <a:avLst/>
            </a:prstGeom>
            <a:solidFill>
              <a:schemeClr val="accent4"/>
            </a:solidFill>
            <a:ln w="254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53">
                <a:solidFill>
                  <a:schemeClr val="tx1"/>
                </a:solidFill>
              </a:endParaRPr>
            </a:p>
          </p:txBody>
        </p:sp>
      </p:grpSp>
      <p:grpSp>
        <p:nvGrpSpPr>
          <p:cNvPr id="35" name="Group 34">
            <a:extLst>
              <a:ext uri="{FF2B5EF4-FFF2-40B4-BE49-F238E27FC236}">
                <a16:creationId xmlns:a16="http://schemas.microsoft.com/office/drawing/2014/main" id="{71208589-6FC5-407D-BE58-3C3B6821BF28}"/>
              </a:ext>
            </a:extLst>
          </p:cNvPr>
          <p:cNvGrpSpPr/>
          <p:nvPr/>
        </p:nvGrpSpPr>
        <p:grpSpPr bwMode="gray">
          <a:xfrm>
            <a:off x="612772" y="4613016"/>
            <a:ext cx="7553328" cy="1222839"/>
            <a:chOff x="1" y="2412717"/>
            <a:chExt cx="6511459" cy="1777949"/>
          </a:xfrm>
        </p:grpSpPr>
        <p:sp>
          <p:nvSpPr>
            <p:cNvPr id="36" name="Freeform: Shape 35">
              <a:extLst>
                <a:ext uri="{FF2B5EF4-FFF2-40B4-BE49-F238E27FC236}">
                  <a16:creationId xmlns:a16="http://schemas.microsoft.com/office/drawing/2014/main" id="{AD450416-75A2-420C-B674-C9CCEB772BA6}"/>
                </a:ext>
              </a:extLst>
            </p:cNvPr>
            <p:cNvSpPr/>
            <p:nvPr/>
          </p:nvSpPr>
          <p:spPr bwMode="gray">
            <a:xfrm flipH="1">
              <a:off x="4053943" y="2412718"/>
              <a:ext cx="2457517" cy="1777948"/>
            </a:xfrm>
            <a:custGeom>
              <a:avLst/>
              <a:gdLst>
                <a:gd name="connsiteX0" fmla="*/ 2958810 w 2958810"/>
                <a:gd name="connsiteY0" fmla="*/ 0 h 1956221"/>
                <a:gd name="connsiteX1" fmla="*/ 1358537 w 2958810"/>
                <a:gd name="connsiteY1" fmla="*/ 0 h 1956221"/>
                <a:gd name="connsiteX2" fmla="*/ 0 w 2958810"/>
                <a:gd name="connsiteY2" fmla="*/ 1956221 h 1956221"/>
                <a:gd name="connsiteX3" fmla="*/ 1600273 w 2958810"/>
                <a:gd name="connsiteY3" fmla="*/ 1956221 h 1956221"/>
              </a:gdLst>
              <a:ahLst/>
              <a:cxnLst>
                <a:cxn ang="0">
                  <a:pos x="connsiteX0" y="connsiteY0"/>
                </a:cxn>
                <a:cxn ang="0">
                  <a:pos x="connsiteX1" y="connsiteY1"/>
                </a:cxn>
                <a:cxn ang="0">
                  <a:pos x="connsiteX2" y="connsiteY2"/>
                </a:cxn>
                <a:cxn ang="0">
                  <a:pos x="connsiteX3" y="connsiteY3"/>
                </a:cxn>
              </a:cxnLst>
              <a:rect l="l" t="t" r="r" b="b"/>
              <a:pathLst>
                <a:path w="2958810" h="1956221">
                  <a:moveTo>
                    <a:pt x="2958810" y="0"/>
                  </a:moveTo>
                  <a:lnTo>
                    <a:pt x="1358537" y="0"/>
                  </a:lnTo>
                  <a:lnTo>
                    <a:pt x="0" y="1956221"/>
                  </a:lnTo>
                  <a:lnTo>
                    <a:pt x="1600273" y="1956221"/>
                  </a:lnTo>
                  <a:close/>
                </a:path>
              </a:pathLst>
            </a:cu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Bef>
                  <a:spcPts val="500"/>
                </a:spcBef>
              </a:pPr>
              <a:endParaRPr lang="en-US" sz="1000">
                <a:solidFill>
                  <a:schemeClr val="bg1"/>
                </a:solidFill>
              </a:endParaRPr>
            </a:p>
          </p:txBody>
        </p:sp>
        <p:sp>
          <p:nvSpPr>
            <p:cNvPr id="37" name="Rectangle 36">
              <a:extLst>
                <a:ext uri="{FF2B5EF4-FFF2-40B4-BE49-F238E27FC236}">
                  <a16:creationId xmlns:a16="http://schemas.microsoft.com/office/drawing/2014/main" id="{C3D908A5-A997-4F50-BEB1-26D91FA6FB93}"/>
                </a:ext>
              </a:extLst>
            </p:cNvPr>
            <p:cNvSpPr/>
            <p:nvPr/>
          </p:nvSpPr>
          <p:spPr bwMode="gray">
            <a:xfrm>
              <a:off x="1" y="2412717"/>
              <a:ext cx="5273039" cy="1777948"/>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Bef>
                  <a:spcPts val="500"/>
                </a:spcBef>
              </a:pPr>
              <a:endParaRPr lang="en-US" sz="1000">
                <a:solidFill>
                  <a:schemeClr val="bg1"/>
                </a:solidFill>
              </a:endParaRPr>
            </a:p>
          </p:txBody>
        </p:sp>
        <p:sp>
          <p:nvSpPr>
            <p:cNvPr id="38" name="Freeform: Shape 37">
              <a:extLst>
                <a:ext uri="{FF2B5EF4-FFF2-40B4-BE49-F238E27FC236}">
                  <a16:creationId xmlns:a16="http://schemas.microsoft.com/office/drawing/2014/main" id="{38736EB3-8CDA-439D-99AD-3A93A8B713E2}"/>
                </a:ext>
              </a:extLst>
            </p:cNvPr>
            <p:cNvSpPr/>
            <p:nvPr/>
          </p:nvSpPr>
          <p:spPr bwMode="gray">
            <a:xfrm flipH="1">
              <a:off x="4005573" y="2412718"/>
              <a:ext cx="2457517" cy="1777948"/>
            </a:xfrm>
            <a:custGeom>
              <a:avLst/>
              <a:gdLst>
                <a:gd name="connsiteX0" fmla="*/ 2958810 w 2958810"/>
                <a:gd name="connsiteY0" fmla="*/ 0 h 1956221"/>
                <a:gd name="connsiteX1" fmla="*/ 1358537 w 2958810"/>
                <a:gd name="connsiteY1" fmla="*/ 0 h 1956221"/>
                <a:gd name="connsiteX2" fmla="*/ 0 w 2958810"/>
                <a:gd name="connsiteY2" fmla="*/ 1956221 h 1956221"/>
                <a:gd name="connsiteX3" fmla="*/ 1600273 w 2958810"/>
                <a:gd name="connsiteY3" fmla="*/ 1956221 h 1956221"/>
              </a:gdLst>
              <a:ahLst/>
              <a:cxnLst>
                <a:cxn ang="0">
                  <a:pos x="connsiteX0" y="connsiteY0"/>
                </a:cxn>
                <a:cxn ang="0">
                  <a:pos x="connsiteX1" y="connsiteY1"/>
                </a:cxn>
                <a:cxn ang="0">
                  <a:pos x="connsiteX2" y="connsiteY2"/>
                </a:cxn>
                <a:cxn ang="0">
                  <a:pos x="connsiteX3" y="connsiteY3"/>
                </a:cxn>
              </a:cxnLst>
              <a:rect l="l" t="t" r="r" b="b"/>
              <a:pathLst>
                <a:path w="2958810" h="1956221">
                  <a:moveTo>
                    <a:pt x="2958810" y="0"/>
                  </a:moveTo>
                  <a:lnTo>
                    <a:pt x="1358537" y="0"/>
                  </a:lnTo>
                  <a:lnTo>
                    <a:pt x="0" y="1956221"/>
                  </a:lnTo>
                  <a:lnTo>
                    <a:pt x="1600273" y="1956221"/>
                  </a:lnTo>
                  <a:close/>
                </a:path>
              </a:pathLst>
            </a:cu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Bef>
                  <a:spcPts val="500"/>
                </a:spcBef>
              </a:pPr>
              <a:endParaRPr lang="en-US" sz="1000">
                <a:solidFill>
                  <a:schemeClr val="bg1"/>
                </a:solidFill>
              </a:endParaRPr>
            </a:p>
          </p:txBody>
        </p:sp>
      </p:grpSp>
      <p:sp>
        <p:nvSpPr>
          <p:cNvPr id="39" name="TextBox 38">
            <a:extLst>
              <a:ext uri="{FF2B5EF4-FFF2-40B4-BE49-F238E27FC236}">
                <a16:creationId xmlns:a16="http://schemas.microsoft.com/office/drawing/2014/main" id="{62EE59C3-B8AA-43DB-90AB-0BEFB1F74C3F}"/>
              </a:ext>
            </a:extLst>
          </p:cNvPr>
          <p:cNvSpPr txBox="1"/>
          <p:nvPr/>
        </p:nvSpPr>
        <p:spPr bwMode="gray">
          <a:xfrm>
            <a:off x="1377266" y="4830200"/>
            <a:ext cx="4508545" cy="276999"/>
          </a:xfrm>
          <a:prstGeom prst="rect">
            <a:avLst/>
          </a:prstGeom>
          <a:noFill/>
        </p:spPr>
        <p:txBody>
          <a:bodyPr wrap="square" lIns="0" tIns="0" rIns="0" bIns="0" rtlCol="0">
            <a:spAutoFit/>
          </a:bodyPr>
          <a:lstStyle/>
          <a:p>
            <a:pPr>
              <a:spcBef>
                <a:spcPts val="500"/>
              </a:spcBef>
              <a:buClr>
                <a:schemeClr val="accent6"/>
              </a:buClr>
            </a:pPr>
            <a:r>
              <a:rPr lang="en-US" b="1">
                <a:latin typeface="+mj-lt"/>
              </a:rPr>
              <a:t>Better clarification with adjusted translation</a:t>
            </a:r>
          </a:p>
        </p:txBody>
      </p:sp>
      <p:sp>
        <p:nvSpPr>
          <p:cNvPr id="40" name="TextBox 39">
            <a:extLst>
              <a:ext uri="{FF2B5EF4-FFF2-40B4-BE49-F238E27FC236}">
                <a16:creationId xmlns:a16="http://schemas.microsoft.com/office/drawing/2014/main" id="{65888F3F-8876-485C-9681-4A7382775E99}"/>
              </a:ext>
            </a:extLst>
          </p:cNvPr>
          <p:cNvSpPr txBox="1"/>
          <p:nvPr/>
        </p:nvSpPr>
        <p:spPr bwMode="gray">
          <a:xfrm>
            <a:off x="1377266" y="5223401"/>
            <a:ext cx="6204550" cy="455574"/>
          </a:xfrm>
          <a:prstGeom prst="rect">
            <a:avLst/>
          </a:prstGeom>
          <a:noFill/>
        </p:spPr>
        <p:txBody>
          <a:bodyPr wrap="square" lIns="0" tIns="0" rIns="0" bIns="0" rtlCol="0">
            <a:spAutoFit/>
          </a:bodyPr>
          <a:lstStyle/>
          <a:p>
            <a:pPr>
              <a:lnSpc>
                <a:spcPct val="110000"/>
              </a:lnSpc>
              <a:spcBef>
                <a:spcPts val="500"/>
              </a:spcBef>
            </a:pPr>
            <a:r>
              <a:rPr lang="en-US" sz="1400" i="1">
                <a:latin typeface="Arial" panose="020B0604020202020204" pitchFamily="34" charset="0"/>
              </a:rPr>
              <a:t>“The vaccine will not be mandatory for Virginians and there are no legal penalties for refusing it, but we recommend that you get it once it is available.”</a:t>
            </a:r>
            <a:endParaRPr lang="en-US" sz="1400" i="1"/>
          </a:p>
        </p:txBody>
      </p:sp>
      <p:pic>
        <p:nvPicPr>
          <p:cNvPr id="41" name="Picture 40" descr="Icon&#10;&#10;Description automatically generated">
            <a:extLst>
              <a:ext uri="{FF2B5EF4-FFF2-40B4-BE49-F238E27FC236}">
                <a16:creationId xmlns:a16="http://schemas.microsoft.com/office/drawing/2014/main" id="{7E536766-139B-4009-95B2-709E4F6E549D}"/>
              </a:ext>
            </a:extLst>
          </p:cNvPr>
          <p:cNvPicPr>
            <a:picLocks noChangeAspect="1"/>
          </p:cNvPicPr>
          <p:nvPr/>
        </p:nvPicPr>
        <p:blipFill>
          <a:blip r:embed="rId6"/>
          <a:stretch>
            <a:fillRect/>
          </a:stretch>
        </p:blipFill>
        <p:spPr>
          <a:xfrm>
            <a:off x="738014" y="4693459"/>
            <a:ext cx="500859" cy="544412"/>
          </a:xfrm>
          <a:prstGeom prst="rect">
            <a:avLst/>
          </a:prstGeom>
        </p:spPr>
      </p:pic>
    </p:spTree>
    <p:extLst>
      <p:ext uri="{BB962C8B-B14F-4D97-AF65-F5344CB8AC3E}">
        <p14:creationId xmlns:p14="http://schemas.microsoft.com/office/powerpoint/2010/main" val="15769732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38862A-A93D-4C0E-AD11-20EC56996131}"/>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C629C73F-EE2F-42C2-9186-DBEE21F6A986}"/>
              </a:ext>
            </a:extLst>
          </p:cNvPr>
          <p:cNvSpPr>
            <a:spLocks noGrp="1"/>
          </p:cNvSpPr>
          <p:nvPr>
            <p:ph type="body" sz="quarter" idx="27"/>
          </p:nvPr>
        </p:nvSpPr>
        <p:spPr>
          <a:xfrm>
            <a:off x="8809022" y="6060046"/>
            <a:ext cx="2767408" cy="107722"/>
          </a:xfrm>
        </p:spPr>
        <p:txBody>
          <a:bodyPr/>
          <a:lstStyle/>
          <a:p>
            <a:endParaRPr lang="en-US"/>
          </a:p>
        </p:txBody>
      </p:sp>
      <p:sp>
        <p:nvSpPr>
          <p:cNvPr id="4" name="Title 3">
            <a:extLst>
              <a:ext uri="{FF2B5EF4-FFF2-40B4-BE49-F238E27FC236}">
                <a16:creationId xmlns:a16="http://schemas.microsoft.com/office/drawing/2014/main" id="{6A9EDEAC-4658-474E-92AF-3AE3862121AD}"/>
              </a:ext>
            </a:extLst>
          </p:cNvPr>
          <p:cNvSpPr>
            <a:spLocks noGrp="1"/>
          </p:cNvSpPr>
          <p:nvPr>
            <p:ph type="title"/>
          </p:nvPr>
        </p:nvSpPr>
        <p:spPr/>
        <p:txBody>
          <a:bodyPr/>
          <a:lstStyle/>
          <a:p>
            <a:r>
              <a:rPr lang="en-US"/>
              <a:t>Digital accessibility extends beyond language</a:t>
            </a:r>
          </a:p>
        </p:txBody>
      </p:sp>
      <p:pic>
        <p:nvPicPr>
          <p:cNvPr id="6" name="Picture 5">
            <a:extLst>
              <a:ext uri="{FF2B5EF4-FFF2-40B4-BE49-F238E27FC236}">
                <a16:creationId xmlns:a16="http://schemas.microsoft.com/office/drawing/2014/main" id="{AB422C93-6848-40E9-B60E-3E49AE325FF4}"/>
              </a:ext>
            </a:extLst>
          </p:cNvPr>
          <p:cNvPicPr>
            <a:picLocks/>
          </p:cNvPicPr>
          <p:nvPr/>
        </p:nvPicPr>
        <p:blipFill>
          <a:blip r:embed="rId3">
            <a:extLst>
              <a:ext uri="{28A0092B-C50C-407E-A947-70E740481C1C}">
                <a14:useLocalDpi xmlns:a14="http://schemas.microsoft.com/office/drawing/2010/main" val="0"/>
              </a:ext>
            </a:extLst>
          </a:blip>
          <a:srcRect/>
          <a:stretch/>
        </p:blipFill>
        <p:spPr bwMode="gray">
          <a:xfrm>
            <a:off x="1319706" y="3911836"/>
            <a:ext cx="501253" cy="544841"/>
          </a:xfrm>
          <a:prstGeom prst="rect">
            <a:avLst/>
          </a:prstGeom>
        </p:spPr>
      </p:pic>
      <p:pic>
        <p:nvPicPr>
          <p:cNvPr id="7" name="Picture 6">
            <a:extLst>
              <a:ext uri="{FF2B5EF4-FFF2-40B4-BE49-F238E27FC236}">
                <a16:creationId xmlns:a16="http://schemas.microsoft.com/office/drawing/2014/main" id="{CAB4D943-31FA-4619-8CC4-3BB8B93EA6C4}"/>
              </a:ext>
            </a:extLst>
          </p:cNvPr>
          <p:cNvPicPr>
            <a:picLocks/>
          </p:cNvPicPr>
          <p:nvPr/>
        </p:nvPicPr>
        <p:blipFill>
          <a:blip r:embed="rId4">
            <a:extLst>
              <a:ext uri="{28A0092B-C50C-407E-A947-70E740481C1C}">
                <a14:useLocalDpi xmlns:a14="http://schemas.microsoft.com/office/drawing/2010/main" val="0"/>
              </a:ext>
            </a:extLst>
          </a:blip>
          <a:srcRect/>
          <a:stretch/>
        </p:blipFill>
        <p:spPr bwMode="gray">
          <a:xfrm>
            <a:off x="1266811" y="5118707"/>
            <a:ext cx="599034" cy="599034"/>
          </a:xfrm>
          <a:prstGeom prst="rect">
            <a:avLst/>
          </a:prstGeom>
        </p:spPr>
      </p:pic>
      <p:pic>
        <p:nvPicPr>
          <p:cNvPr id="8" name="Picture 7">
            <a:extLst>
              <a:ext uri="{FF2B5EF4-FFF2-40B4-BE49-F238E27FC236}">
                <a16:creationId xmlns:a16="http://schemas.microsoft.com/office/drawing/2014/main" id="{1447AB53-3FBB-4E15-81B8-42E25F272886}"/>
              </a:ext>
            </a:extLst>
          </p:cNvPr>
          <p:cNvPicPr>
            <a:picLocks/>
          </p:cNvPicPr>
          <p:nvPr/>
        </p:nvPicPr>
        <p:blipFill>
          <a:blip r:embed="rId5">
            <a:extLst>
              <a:ext uri="{28A0092B-C50C-407E-A947-70E740481C1C}">
                <a14:useLocalDpi xmlns:a14="http://schemas.microsoft.com/office/drawing/2010/main" val="0"/>
              </a:ext>
            </a:extLst>
          </a:blip>
          <a:srcRect/>
          <a:stretch/>
        </p:blipFill>
        <p:spPr bwMode="gray">
          <a:xfrm>
            <a:off x="1274821" y="2611542"/>
            <a:ext cx="591024" cy="642416"/>
          </a:xfrm>
          <a:prstGeom prst="rect">
            <a:avLst/>
          </a:prstGeom>
        </p:spPr>
      </p:pic>
      <p:sp>
        <p:nvSpPr>
          <p:cNvPr id="11" name="Flowchart: Connector 10">
            <a:extLst>
              <a:ext uri="{FF2B5EF4-FFF2-40B4-BE49-F238E27FC236}">
                <a16:creationId xmlns:a16="http://schemas.microsoft.com/office/drawing/2014/main" id="{BDBB18B8-C8CA-47A8-B646-2C8BEA198FF8}"/>
              </a:ext>
            </a:extLst>
          </p:cNvPr>
          <p:cNvSpPr/>
          <p:nvPr/>
        </p:nvSpPr>
        <p:spPr bwMode="gray">
          <a:xfrm>
            <a:off x="1162709" y="2514109"/>
            <a:ext cx="815248" cy="837282"/>
          </a:xfrm>
          <a:prstGeom prst="flowChartConnector">
            <a:avLst/>
          </a:prstGeom>
          <a:no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lowchart: Connector 11">
            <a:extLst>
              <a:ext uri="{FF2B5EF4-FFF2-40B4-BE49-F238E27FC236}">
                <a16:creationId xmlns:a16="http://schemas.microsoft.com/office/drawing/2014/main" id="{8995D1B1-6A11-43F9-8D15-6B83C3CC8C82}"/>
              </a:ext>
            </a:extLst>
          </p:cNvPr>
          <p:cNvSpPr/>
          <p:nvPr/>
        </p:nvSpPr>
        <p:spPr bwMode="gray">
          <a:xfrm>
            <a:off x="1162709" y="3763496"/>
            <a:ext cx="815248" cy="837282"/>
          </a:xfrm>
          <a:prstGeom prst="flowChartConnector">
            <a:avLst/>
          </a:prstGeom>
          <a:no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lowchart: Connector 13">
            <a:extLst>
              <a:ext uri="{FF2B5EF4-FFF2-40B4-BE49-F238E27FC236}">
                <a16:creationId xmlns:a16="http://schemas.microsoft.com/office/drawing/2014/main" id="{C841DF71-D694-420D-8458-8ED66F573E69}"/>
              </a:ext>
            </a:extLst>
          </p:cNvPr>
          <p:cNvSpPr/>
          <p:nvPr/>
        </p:nvSpPr>
        <p:spPr bwMode="gray">
          <a:xfrm>
            <a:off x="1158704" y="4999583"/>
            <a:ext cx="815248" cy="837282"/>
          </a:xfrm>
          <a:prstGeom prst="flowChartConnector">
            <a:avLst/>
          </a:prstGeom>
          <a:no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73C7336B-1650-4073-BE21-10F0254B64E7}"/>
              </a:ext>
            </a:extLst>
          </p:cNvPr>
          <p:cNvSpPr txBox="1"/>
          <p:nvPr/>
        </p:nvSpPr>
        <p:spPr bwMode="gray">
          <a:xfrm>
            <a:off x="2372196" y="2676076"/>
            <a:ext cx="2220043" cy="492443"/>
          </a:xfrm>
          <a:prstGeom prst="rect">
            <a:avLst/>
          </a:prstGeom>
        </p:spPr>
        <p:txBody>
          <a:bodyPr vert="horz" wrap="square" lIns="0" tIns="0" rIns="0" bIns="0" rtlCol="0">
            <a:spAutoFit/>
          </a:bodyPr>
          <a:lstStyle/>
          <a:p>
            <a:pPr>
              <a:buClr>
                <a:schemeClr val="accent6"/>
              </a:buClr>
            </a:pPr>
            <a:r>
              <a:rPr lang="en-US" sz="1600"/>
              <a:t>Cultural competency in language services</a:t>
            </a:r>
            <a:endParaRPr lang="en-US" sz="1500"/>
          </a:p>
        </p:txBody>
      </p:sp>
      <p:sp>
        <p:nvSpPr>
          <p:cNvPr id="16" name="TextBox 15">
            <a:extLst>
              <a:ext uri="{FF2B5EF4-FFF2-40B4-BE49-F238E27FC236}">
                <a16:creationId xmlns:a16="http://schemas.microsoft.com/office/drawing/2014/main" id="{15D1C595-F490-4A42-B87C-E676ED95761E}"/>
              </a:ext>
            </a:extLst>
          </p:cNvPr>
          <p:cNvSpPr txBox="1"/>
          <p:nvPr/>
        </p:nvSpPr>
        <p:spPr bwMode="gray">
          <a:xfrm>
            <a:off x="2372196" y="3935915"/>
            <a:ext cx="2961804" cy="492443"/>
          </a:xfrm>
          <a:prstGeom prst="rect">
            <a:avLst/>
          </a:prstGeom>
        </p:spPr>
        <p:txBody>
          <a:bodyPr vert="horz" wrap="square" lIns="0" tIns="0" rIns="0" bIns="0" rtlCol="0">
            <a:spAutoFit/>
          </a:bodyPr>
          <a:lstStyle/>
          <a:p>
            <a:pPr>
              <a:spcBef>
                <a:spcPts val="600"/>
              </a:spcBef>
              <a:buClr>
                <a:schemeClr val="accent6"/>
              </a:buClr>
            </a:pPr>
            <a:r>
              <a:rPr lang="en-US" sz="1600"/>
              <a:t>Visual or audio accessibility accommodations</a:t>
            </a:r>
            <a:endParaRPr lang="en-US" sz="1500"/>
          </a:p>
        </p:txBody>
      </p:sp>
      <p:sp>
        <p:nvSpPr>
          <p:cNvPr id="17" name="TextBox 16">
            <a:extLst>
              <a:ext uri="{FF2B5EF4-FFF2-40B4-BE49-F238E27FC236}">
                <a16:creationId xmlns:a16="http://schemas.microsoft.com/office/drawing/2014/main" id="{5127D254-6C4B-455D-8323-B81DF6E336E2}"/>
              </a:ext>
            </a:extLst>
          </p:cNvPr>
          <p:cNvSpPr txBox="1"/>
          <p:nvPr/>
        </p:nvSpPr>
        <p:spPr bwMode="gray">
          <a:xfrm>
            <a:off x="2372196" y="5348117"/>
            <a:ext cx="3363586" cy="230832"/>
          </a:xfrm>
          <a:prstGeom prst="rect">
            <a:avLst/>
          </a:prstGeom>
        </p:spPr>
        <p:txBody>
          <a:bodyPr vert="horz" wrap="square" lIns="0" tIns="0" rIns="0" bIns="0" rtlCol="0">
            <a:spAutoFit/>
          </a:bodyPr>
          <a:lstStyle/>
          <a:p>
            <a:pPr>
              <a:buClr>
                <a:schemeClr val="accent6"/>
              </a:buClr>
            </a:pPr>
            <a:r>
              <a:rPr lang="en-US" sz="1500"/>
              <a:t>Inclusive user experience (UX) design</a:t>
            </a:r>
          </a:p>
        </p:txBody>
      </p:sp>
      <p:sp>
        <p:nvSpPr>
          <p:cNvPr id="22" name="TextBox 21">
            <a:extLst>
              <a:ext uri="{FF2B5EF4-FFF2-40B4-BE49-F238E27FC236}">
                <a16:creationId xmlns:a16="http://schemas.microsoft.com/office/drawing/2014/main" id="{A59B37EE-79F4-48ED-A9AF-F2B263C13F17}"/>
              </a:ext>
            </a:extLst>
          </p:cNvPr>
          <p:cNvSpPr txBox="1"/>
          <p:nvPr/>
        </p:nvSpPr>
        <p:spPr bwMode="gray">
          <a:xfrm>
            <a:off x="612772" y="1746268"/>
            <a:ext cx="7474323" cy="246221"/>
          </a:xfrm>
          <a:prstGeom prst="rect">
            <a:avLst/>
          </a:prstGeom>
        </p:spPr>
        <p:txBody>
          <a:bodyPr vert="horz" wrap="square" lIns="0" tIns="0" rIns="0" bIns="0" rtlCol="0">
            <a:spAutoFit/>
          </a:bodyPr>
          <a:lstStyle/>
          <a:p>
            <a:pPr>
              <a:spcBef>
                <a:spcPts val="600"/>
              </a:spcBef>
              <a:buClr>
                <a:schemeClr val="accent6"/>
              </a:buClr>
            </a:pPr>
            <a:r>
              <a:rPr lang="en-US" sz="1600" b="1"/>
              <a:t>Considerations for equitable accessibility </a:t>
            </a:r>
            <a:endParaRPr lang="en-US" sz="1500" b="1"/>
          </a:p>
        </p:txBody>
      </p:sp>
      <p:sp>
        <p:nvSpPr>
          <p:cNvPr id="18" name="Line Callout 1 (No Border) 25">
            <a:extLst>
              <a:ext uri="{FF2B5EF4-FFF2-40B4-BE49-F238E27FC236}">
                <a16:creationId xmlns:a16="http://schemas.microsoft.com/office/drawing/2014/main" id="{F2CA498C-1C16-43D7-852D-0246700EF43B}"/>
              </a:ext>
            </a:extLst>
          </p:cNvPr>
          <p:cNvSpPr/>
          <p:nvPr/>
        </p:nvSpPr>
        <p:spPr bwMode="gray">
          <a:xfrm>
            <a:off x="7163231" y="2514109"/>
            <a:ext cx="3866060" cy="2350094"/>
          </a:xfrm>
          <a:custGeom>
            <a:avLst/>
            <a:gdLst>
              <a:gd name="connsiteX0" fmla="*/ 0 w 2481943"/>
              <a:gd name="connsiteY0" fmla="*/ 0 h 818173"/>
              <a:gd name="connsiteX1" fmla="*/ 2481943 w 2481943"/>
              <a:gd name="connsiteY1" fmla="*/ 0 h 818173"/>
              <a:gd name="connsiteX2" fmla="*/ 2481943 w 2481943"/>
              <a:gd name="connsiteY2" fmla="*/ 818173 h 818173"/>
              <a:gd name="connsiteX3" fmla="*/ 0 w 2481943"/>
              <a:gd name="connsiteY3" fmla="*/ 818173 h 818173"/>
              <a:gd name="connsiteX4" fmla="*/ 0 w 2481943"/>
              <a:gd name="connsiteY4" fmla="*/ 0 h 818173"/>
              <a:gd name="connsiteX0" fmla="*/ 17597 w 2481943"/>
              <a:gd name="connsiteY0" fmla="*/ -425 h 818173"/>
              <a:gd name="connsiteX1" fmla="*/ 17473 w 2481943"/>
              <a:gd name="connsiteY1" fmla="*/ 818238 h 818173"/>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9174 w 2483520"/>
              <a:gd name="connsiteY0" fmla="*/ 0 h 818663"/>
              <a:gd name="connsiteX1" fmla="*/ 0 w 2483520"/>
              <a:gd name="connsiteY1" fmla="*/ 818663 h 818663"/>
              <a:gd name="connsiteX0" fmla="*/ 1577 w 2483520"/>
              <a:gd name="connsiteY0" fmla="*/ 5187 h 823425"/>
              <a:gd name="connsiteX1" fmla="*/ 2483520 w 2483520"/>
              <a:gd name="connsiteY1" fmla="*/ 5187 h 823425"/>
              <a:gd name="connsiteX2" fmla="*/ 2483520 w 2483520"/>
              <a:gd name="connsiteY2" fmla="*/ 823360 h 823425"/>
              <a:gd name="connsiteX3" fmla="*/ 1577 w 2483520"/>
              <a:gd name="connsiteY3" fmla="*/ 823360 h 823425"/>
              <a:gd name="connsiteX4" fmla="*/ 1577 w 2483520"/>
              <a:gd name="connsiteY4" fmla="*/ 5187 h 823425"/>
              <a:gd name="connsiteX0" fmla="*/ 2505 w 2483520"/>
              <a:gd name="connsiteY0" fmla="*/ 0 h 823425"/>
              <a:gd name="connsiteX1" fmla="*/ 0 w 2483520"/>
              <a:gd name="connsiteY1" fmla="*/ 823425 h 823425"/>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2505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24 w 2483520"/>
              <a:gd name="connsiteY0" fmla="*/ 0 h 818663"/>
              <a:gd name="connsiteX1" fmla="*/ 0 w 2483520"/>
              <a:gd name="connsiteY1" fmla="*/ 818663 h 818663"/>
            </a:gdLst>
            <a:ahLst/>
            <a:cxnLst>
              <a:cxn ang="0">
                <a:pos x="connsiteX0" y="connsiteY0"/>
              </a:cxn>
              <a:cxn ang="0">
                <a:pos x="connsiteX1" y="connsiteY1"/>
              </a:cxn>
            </a:cxnLst>
            <a:rect l="l" t="t" r="r" b="b"/>
            <a:pathLst>
              <a:path w="2483520" h="818663" stroke="0" extrusionOk="0">
                <a:moveTo>
                  <a:pt x="1577" y="425"/>
                </a:moveTo>
                <a:lnTo>
                  <a:pt x="2483520" y="425"/>
                </a:lnTo>
                <a:lnTo>
                  <a:pt x="2483520" y="818598"/>
                </a:lnTo>
                <a:lnTo>
                  <a:pt x="1577" y="818598"/>
                </a:lnTo>
                <a:lnTo>
                  <a:pt x="1577" y="425"/>
                </a:lnTo>
                <a:close/>
              </a:path>
              <a:path w="2483520" h="818663" fill="none" extrusionOk="0">
                <a:moveTo>
                  <a:pt x="124" y="0"/>
                </a:moveTo>
                <a:cubicBezTo>
                  <a:pt x="83" y="272888"/>
                  <a:pt x="41" y="545775"/>
                  <a:pt x="0" y="818663"/>
                </a:cubicBezTo>
              </a:path>
            </a:pathLst>
          </a:custGeom>
          <a:solidFill>
            <a:schemeClr val="bg2"/>
          </a:solidFill>
          <a:ln w="508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195943" rIns="195943" bIns="195943"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222A30"/>
                </a:solidFill>
                <a:effectLst/>
                <a:uLnTx/>
                <a:uFillTx/>
                <a:latin typeface="Arial" panose="020B0604020202020204"/>
                <a:ea typeface="+mn-ea"/>
                <a:cs typeface="+mn-cs"/>
              </a:rPr>
              <a:t>Promoting equity through inclusive UX desig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Language flexibility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Audio accommodation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Visual accessibility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Physical and cognitive consideration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Reading levels</a:t>
            </a:r>
          </a:p>
        </p:txBody>
      </p:sp>
    </p:spTree>
    <p:extLst>
      <p:ext uri="{BB962C8B-B14F-4D97-AF65-F5344CB8AC3E}">
        <p14:creationId xmlns:p14="http://schemas.microsoft.com/office/powerpoint/2010/main" val="40693719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7A6F2C-F3BC-4611-8C8F-75E7F514628E}"/>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312EF722-A0D2-472E-B166-FAE514BF1F2D}"/>
              </a:ext>
            </a:extLst>
          </p:cNvPr>
          <p:cNvSpPr>
            <a:spLocks noGrp="1"/>
          </p:cNvSpPr>
          <p:nvPr>
            <p:ph type="body" sz="quarter" idx="27"/>
          </p:nvPr>
        </p:nvSpPr>
        <p:spPr/>
        <p:txBody>
          <a:bodyPr/>
          <a:lstStyle/>
          <a:p>
            <a:endParaRPr lang="en-US"/>
          </a:p>
        </p:txBody>
      </p:sp>
      <p:sp>
        <p:nvSpPr>
          <p:cNvPr id="4" name="Title 3">
            <a:extLst>
              <a:ext uri="{FF2B5EF4-FFF2-40B4-BE49-F238E27FC236}">
                <a16:creationId xmlns:a16="http://schemas.microsoft.com/office/drawing/2014/main" id="{F75856F5-AE3F-4897-8796-46079FEB1654}"/>
              </a:ext>
            </a:extLst>
          </p:cNvPr>
          <p:cNvSpPr>
            <a:spLocks noGrp="1"/>
          </p:cNvSpPr>
          <p:nvPr>
            <p:ph type="title"/>
          </p:nvPr>
        </p:nvSpPr>
        <p:spPr/>
        <p:txBody>
          <a:bodyPr/>
          <a:lstStyle/>
          <a:p>
            <a:r>
              <a:rPr lang="en-US"/>
              <a:t>Digital inequity is a cyclical issue</a:t>
            </a:r>
          </a:p>
        </p:txBody>
      </p:sp>
      <p:sp>
        <p:nvSpPr>
          <p:cNvPr id="16" name="Text Placeholder 1">
            <a:extLst>
              <a:ext uri="{FF2B5EF4-FFF2-40B4-BE49-F238E27FC236}">
                <a16:creationId xmlns:a16="http://schemas.microsoft.com/office/drawing/2014/main" id="{23776CEB-53AE-4EE7-BC46-101BFBD210D8}"/>
              </a:ext>
            </a:extLst>
          </p:cNvPr>
          <p:cNvSpPr txBox="1">
            <a:spLocks/>
          </p:cNvSpPr>
          <p:nvPr/>
        </p:nvSpPr>
        <p:spPr bwMode="gray">
          <a:xfrm>
            <a:off x="7788220" y="2133600"/>
            <a:ext cx="2767407" cy="815608"/>
          </a:xfrm>
          <a:prstGeom prst="rect">
            <a:avLst/>
          </a:prstGeom>
        </p:spPr>
        <p:txBody>
          <a:bodyPr vert="horz" wrap="square" lIns="0" tIns="0" rIns="0" bIns="0" rtlCol="0">
            <a:spAutoFit/>
          </a:bodyPr>
          <a:lstStyle>
            <a:lvl1pPr marL="1143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marL="0" indent="0">
              <a:spcBef>
                <a:spcPts val="600"/>
              </a:spcBef>
              <a:buClr>
                <a:schemeClr val="accent6"/>
              </a:buClr>
              <a:buNone/>
            </a:pPr>
            <a:r>
              <a:rPr lang="en-US" sz="1500" b="1"/>
              <a:t>Digital inequity </a:t>
            </a:r>
          </a:p>
          <a:p>
            <a:pPr marL="173736" indent="-173736">
              <a:spcBef>
                <a:spcPts val="600"/>
              </a:spcBef>
              <a:buClr>
                <a:schemeClr val="accent6"/>
              </a:buClr>
            </a:pPr>
            <a:r>
              <a:rPr lang="en-US" sz="1400"/>
              <a:t>Device and broadband access </a:t>
            </a:r>
          </a:p>
          <a:p>
            <a:pPr marL="173736" indent="-173736">
              <a:spcBef>
                <a:spcPts val="600"/>
              </a:spcBef>
              <a:buClr>
                <a:schemeClr val="accent6"/>
              </a:buClr>
            </a:pPr>
            <a:r>
              <a:rPr lang="en-US" sz="1400"/>
              <a:t>Digital literacy </a:t>
            </a:r>
          </a:p>
        </p:txBody>
      </p:sp>
      <p:sp>
        <p:nvSpPr>
          <p:cNvPr id="17" name="Text Placeholder 1">
            <a:extLst>
              <a:ext uri="{FF2B5EF4-FFF2-40B4-BE49-F238E27FC236}">
                <a16:creationId xmlns:a16="http://schemas.microsoft.com/office/drawing/2014/main" id="{5D54EF34-F121-4E4A-B3D9-FEBA2EC202CA}"/>
              </a:ext>
            </a:extLst>
          </p:cNvPr>
          <p:cNvSpPr txBox="1">
            <a:spLocks/>
          </p:cNvSpPr>
          <p:nvPr/>
        </p:nvSpPr>
        <p:spPr bwMode="gray">
          <a:xfrm>
            <a:off x="1606801" y="2136069"/>
            <a:ext cx="3023539" cy="1031051"/>
          </a:xfrm>
          <a:prstGeom prst="rect">
            <a:avLst/>
          </a:prstGeom>
        </p:spPr>
        <p:txBody>
          <a:bodyPr vert="horz" wrap="square" lIns="0" tIns="0" rIns="0" bIns="0" rtlCol="0">
            <a:spAutoFit/>
          </a:bodyPr>
          <a:lstStyle>
            <a:lvl1pPr marL="1143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marL="0" indent="0">
              <a:spcBef>
                <a:spcPts val="600"/>
              </a:spcBef>
              <a:buClr>
                <a:schemeClr val="accent6"/>
              </a:buClr>
              <a:buNone/>
            </a:pPr>
            <a:r>
              <a:rPr lang="en-US" sz="1500" b="1"/>
              <a:t>Health care </a:t>
            </a:r>
          </a:p>
          <a:p>
            <a:pPr marL="173736" indent="-173736">
              <a:spcBef>
                <a:spcPts val="600"/>
              </a:spcBef>
              <a:buClr>
                <a:schemeClr val="accent6"/>
              </a:buClr>
            </a:pPr>
            <a:r>
              <a:rPr lang="en-US" sz="1400"/>
              <a:t>Gaps in access, virtual or in-clinic </a:t>
            </a:r>
          </a:p>
          <a:p>
            <a:pPr marL="173736" indent="-173736">
              <a:spcBef>
                <a:spcPts val="600"/>
              </a:spcBef>
              <a:buClr>
                <a:schemeClr val="accent6"/>
              </a:buClr>
            </a:pPr>
            <a:r>
              <a:rPr lang="en-US" sz="1400"/>
              <a:t>Lower health literacy, touchpoints with providers </a:t>
            </a:r>
          </a:p>
        </p:txBody>
      </p:sp>
      <p:sp>
        <p:nvSpPr>
          <p:cNvPr id="18" name="Text Placeholder 1">
            <a:extLst>
              <a:ext uri="{FF2B5EF4-FFF2-40B4-BE49-F238E27FC236}">
                <a16:creationId xmlns:a16="http://schemas.microsoft.com/office/drawing/2014/main" id="{1531DBAF-EB8E-4BC3-8A7D-BF2DFC60FB39}"/>
              </a:ext>
            </a:extLst>
          </p:cNvPr>
          <p:cNvSpPr txBox="1">
            <a:spLocks/>
          </p:cNvSpPr>
          <p:nvPr/>
        </p:nvSpPr>
        <p:spPr bwMode="gray">
          <a:xfrm>
            <a:off x="7788220" y="3886502"/>
            <a:ext cx="2823702" cy="815608"/>
          </a:xfrm>
          <a:prstGeom prst="rect">
            <a:avLst/>
          </a:prstGeom>
        </p:spPr>
        <p:txBody>
          <a:bodyPr vert="horz" wrap="square" lIns="0" tIns="0" rIns="0" bIns="0" rtlCol="0">
            <a:spAutoFit/>
          </a:bodyPr>
          <a:lstStyle>
            <a:lvl1pPr marL="1143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marL="0" indent="0">
              <a:spcBef>
                <a:spcPts val="600"/>
              </a:spcBef>
              <a:buClr>
                <a:schemeClr val="accent6"/>
              </a:buClr>
              <a:buNone/>
            </a:pPr>
            <a:r>
              <a:rPr lang="en-US" sz="1500" b="1"/>
              <a:t>Education</a:t>
            </a:r>
          </a:p>
          <a:p>
            <a:pPr marL="173736" indent="-173736">
              <a:spcBef>
                <a:spcPts val="600"/>
              </a:spcBef>
              <a:buClr>
                <a:schemeClr val="accent6"/>
              </a:buClr>
            </a:pPr>
            <a:r>
              <a:rPr lang="en-US" sz="1400"/>
              <a:t>Poor education opportunities </a:t>
            </a:r>
          </a:p>
          <a:p>
            <a:pPr marL="173736" indent="-173736">
              <a:spcBef>
                <a:spcPts val="600"/>
              </a:spcBef>
              <a:buClr>
                <a:schemeClr val="accent6"/>
              </a:buClr>
            </a:pPr>
            <a:r>
              <a:rPr lang="en-US" sz="1400"/>
              <a:t>Low technical literacy </a:t>
            </a:r>
          </a:p>
        </p:txBody>
      </p:sp>
      <p:sp>
        <p:nvSpPr>
          <p:cNvPr id="19" name="Text Placeholder 1">
            <a:extLst>
              <a:ext uri="{FF2B5EF4-FFF2-40B4-BE49-F238E27FC236}">
                <a16:creationId xmlns:a16="http://schemas.microsoft.com/office/drawing/2014/main" id="{B3458871-DFCA-4C47-8C07-035DEAD4BCA0}"/>
              </a:ext>
            </a:extLst>
          </p:cNvPr>
          <p:cNvSpPr txBox="1">
            <a:spLocks/>
          </p:cNvSpPr>
          <p:nvPr/>
        </p:nvSpPr>
        <p:spPr bwMode="gray">
          <a:xfrm>
            <a:off x="1606801" y="3890569"/>
            <a:ext cx="2854051" cy="738664"/>
          </a:xfrm>
          <a:prstGeom prst="rect">
            <a:avLst/>
          </a:prstGeom>
        </p:spPr>
        <p:txBody>
          <a:bodyPr vert="horz" wrap="square" lIns="0" tIns="0" rIns="0" bIns="0" rtlCol="0">
            <a:spAutoFit/>
          </a:bodyPr>
          <a:lstStyle>
            <a:lvl1pPr marL="1143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marL="0" indent="0">
              <a:spcBef>
                <a:spcPts val="600"/>
              </a:spcBef>
              <a:buClr>
                <a:schemeClr val="accent6"/>
              </a:buClr>
              <a:buNone/>
            </a:pPr>
            <a:r>
              <a:rPr lang="en-US" sz="1500" b="1"/>
              <a:t>Socioeconomic</a:t>
            </a:r>
          </a:p>
          <a:p>
            <a:pPr marL="173736" indent="-173736">
              <a:spcBef>
                <a:spcPts val="600"/>
              </a:spcBef>
              <a:buClr>
                <a:schemeClr val="accent6"/>
              </a:buClr>
            </a:pPr>
            <a:r>
              <a:rPr lang="en-US" sz="1400"/>
              <a:t>Disparities in housing, nutrition, and environmental safety</a:t>
            </a:r>
          </a:p>
        </p:txBody>
      </p:sp>
      <p:sp>
        <p:nvSpPr>
          <p:cNvPr id="20" name="Text Placeholder 1">
            <a:extLst>
              <a:ext uri="{FF2B5EF4-FFF2-40B4-BE49-F238E27FC236}">
                <a16:creationId xmlns:a16="http://schemas.microsoft.com/office/drawing/2014/main" id="{FCC5322E-65D9-4F3E-BD65-7633A3058D51}"/>
              </a:ext>
            </a:extLst>
          </p:cNvPr>
          <p:cNvSpPr txBox="1">
            <a:spLocks/>
          </p:cNvSpPr>
          <p:nvPr/>
        </p:nvSpPr>
        <p:spPr bwMode="gray">
          <a:xfrm>
            <a:off x="5246158" y="5305157"/>
            <a:ext cx="3046904" cy="815608"/>
          </a:xfrm>
          <a:prstGeom prst="rect">
            <a:avLst/>
          </a:prstGeom>
        </p:spPr>
        <p:txBody>
          <a:bodyPr vert="horz" wrap="square" lIns="0" tIns="0" rIns="0" bIns="0" rtlCol="0">
            <a:spAutoFit/>
          </a:bodyPr>
          <a:lstStyle>
            <a:lvl1pPr marL="1143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marL="0" indent="0">
              <a:spcBef>
                <a:spcPts val="600"/>
              </a:spcBef>
              <a:buClr>
                <a:schemeClr val="accent6"/>
              </a:buClr>
              <a:buNone/>
            </a:pPr>
            <a:r>
              <a:rPr lang="en-US" sz="1500" b="1"/>
              <a:t>Employment</a:t>
            </a:r>
          </a:p>
          <a:p>
            <a:pPr marL="173736" indent="-173736">
              <a:spcBef>
                <a:spcPts val="600"/>
              </a:spcBef>
              <a:buClr>
                <a:schemeClr val="accent6"/>
              </a:buClr>
            </a:pPr>
            <a:r>
              <a:rPr lang="en-US" sz="1400"/>
              <a:t>Lower employment opportunities </a:t>
            </a:r>
          </a:p>
          <a:p>
            <a:pPr marL="173736" indent="-173736">
              <a:spcBef>
                <a:spcPts val="600"/>
              </a:spcBef>
              <a:buClr>
                <a:schemeClr val="accent6"/>
              </a:buClr>
            </a:pPr>
            <a:r>
              <a:rPr lang="en-US" sz="1400"/>
              <a:t>Less skill-based positions</a:t>
            </a:r>
          </a:p>
        </p:txBody>
      </p:sp>
      <p:cxnSp>
        <p:nvCxnSpPr>
          <p:cNvPr id="21" name="Straight Connector 20">
            <a:extLst>
              <a:ext uri="{FF2B5EF4-FFF2-40B4-BE49-F238E27FC236}">
                <a16:creationId xmlns:a16="http://schemas.microsoft.com/office/drawing/2014/main" id="{3FA6F576-6657-4DE3-B123-42B928E41A29}"/>
              </a:ext>
            </a:extLst>
          </p:cNvPr>
          <p:cNvCxnSpPr>
            <a:cxnSpLocks/>
          </p:cNvCxnSpPr>
          <p:nvPr/>
        </p:nvCxnSpPr>
        <p:spPr bwMode="gray">
          <a:xfrm>
            <a:off x="603627" y="1739900"/>
            <a:ext cx="10972803" cy="0"/>
          </a:xfrm>
          <a:prstGeom prst="line">
            <a:avLst/>
          </a:prstGeom>
          <a:ln w="19050">
            <a:solidFill>
              <a:schemeClr val="accent2"/>
            </a:solidFill>
            <a:prstDash val="sysDot"/>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E44072C-6461-4681-925F-138F9F0387FB}"/>
              </a:ext>
            </a:extLst>
          </p:cNvPr>
          <p:cNvSpPr txBox="1"/>
          <p:nvPr/>
        </p:nvSpPr>
        <p:spPr bwMode="gray">
          <a:xfrm>
            <a:off x="4445187" y="1589905"/>
            <a:ext cx="3307973" cy="246221"/>
          </a:xfrm>
          <a:prstGeom prst="rect">
            <a:avLst/>
          </a:prstGeom>
          <a:solidFill>
            <a:schemeClr val="tx2"/>
          </a:solidFill>
        </p:spPr>
        <p:txBody>
          <a:bodyPr vert="horz" wrap="square" lIns="0" tIns="0" rIns="0" bIns="0" rtlCol="0">
            <a:spAutoFit/>
          </a:bodyPr>
          <a:lstStyle/>
          <a:p>
            <a:pPr marL="0" marR="0" lvl="1" indent="0" algn="ctr" defTabSz="914400" rtl="0" eaLnBrk="1" fontAlgn="auto" latinLnBrk="0" hangingPunct="1">
              <a:lnSpc>
                <a:spcPct val="100000"/>
              </a:lnSpc>
              <a:spcBef>
                <a:spcPts val="600"/>
              </a:spcBef>
              <a:spcAft>
                <a:spcPts val="0"/>
              </a:spcAft>
              <a:buClrTx/>
              <a:buSzTx/>
              <a:buFontTx/>
              <a:buNone/>
              <a:tabLst/>
              <a:defRPr/>
            </a:pPr>
            <a:r>
              <a:rPr lang="en-US" sz="1600" b="1">
                <a:solidFill>
                  <a:srgbClr val="323E48"/>
                </a:solidFill>
                <a:latin typeface="Arial" panose="020B0604020202020204"/>
              </a:rPr>
              <a:t>Cyclical effects of digital inequity</a:t>
            </a:r>
            <a:endParaRPr kumimoji="0" lang="en-US" sz="1600" b="1" i="0" u="none" strike="noStrike" kern="1200" cap="none" spc="0" normalizeH="0" baseline="0" noProof="0">
              <a:ln>
                <a:noFill/>
              </a:ln>
              <a:solidFill>
                <a:srgbClr val="323E48"/>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32C9001D-0917-4C55-A356-5D82F03DB3B9}"/>
              </a:ext>
            </a:extLst>
          </p:cNvPr>
          <p:cNvGrpSpPr>
            <a:grpSpLocks noChangeAspect="1"/>
          </p:cNvGrpSpPr>
          <p:nvPr/>
        </p:nvGrpSpPr>
        <p:grpSpPr bwMode="gray">
          <a:xfrm rot="8560934">
            <a:off x="4539185" y="2136556"/>
            <a:ext cx="3029775" cy="3038025"/>
            <a:chOff x="1143000" y="2087794"/>
            <a:chExt cx="3187303" cy="3195982"/>
          </a:xfrm>
        </p:grpSpPr>
        <p:sp>
          <p:nvSpPr>
            <p:cNvPr id="24" name="Freeform 18">
              <a:extLst>
                <a:ext uri="{FF2B5EF4-FFF2-40B4-BE49-F238E27FC236}">
                  <a16:creationId xmlns:a16="http://schemas.microsoft.com/office/drawing/2014/main" id="{BBDE3005-48E3-470A-89D7-8C1E0223C29E}"/>
                </a:ext>
              </a:extLst>
            </p:cNvPr>
            <p:cNvSpPr>
              <a:spLocks/>
            </p:cNvSpPr>
            <p:nvPr>
              <p:custDataLst>
                <p:tags r:id="rId1"/>
              </p:custDataLst>
            </p:nvPr>
          </p:nvSpPr>
          <p:spPr bwMode="gray">
            <a:xfrm>
              <a:off x="1205184" y="2095026"/>
              <a:ext cx="1621129" cy="1289962"/>
            </a:xfrm>
            <a:custGeom>
              <a:avLst/>
              <a:gdLst/>
              <a:ahLst/>
              <a:cxnLst>
                <a:cxn ang="0">
                  <a:pos x="90" y="237"/>
                </a:cxn>
                <a:cxn ang="0">
                  <a:pos x="109" y="193"/>
                </a:cxn>
                <a:cxn ang="0">
                  <a:pos x="254" y="96"/>
                </a:cxn>
                <a:cxn ang="0">
                  <a:pos x="297" y="47"/>
                </a:cxn>
                <a:cxn ang="0">
                  <a:pos x="256" y="0"/>
                </a:cxn>
                <a:cxn ang="0">
                  <a:pos x="0" y="209"/>
                </a:cxn>
                <a:cxn ang="0">
                  <a:pos x="58" y="184"/>
                </a:cxn>
                <a:cxn ang="0">
                  <a:pos x="90" y="237"/>
                </a:cxn>
              </a:cxnLst>
              <a:rect l="0" t="0" r="r" b="b"/>
              <a:pathLst>
                <a:path w="297" h="237">
                  <a:moveTo>
                    <a:pt x="90" y="237"/>
                  </a:moveTo>
                  <a:cubicBezTo>
                    <a:pt x="94" y="222"/>
                    <a:pt x="100" y="207"/>
                    <a:pt x="109" y="193"/>
                  </a:cubicBezTo>
                  <a:cubicBezTo>
                    <a:pt x="140" y="138"/>
                    <a:pt x="195" y="104"/>
                    <a:pt x="254" y="96"/>
                  </a:cubicBezTo>
                  <a:cubicBezTo>
                    <a:pt x="297" y="47"/>
                    <a:pt x="297" y="47"/>
                    <a:pt x="297" y="47"/>
                  </a:cubicBezTo>
                  <a:cubicBezTo>
                    <a:pt x="256" y="0"/>
                    <a:pt x="256" y="0"/>
                    <a:pt x="256" y="0"/>
                  </a:cubicBezTo>
                  <a:cubicBezTo>
                    <a:pt x="134" y="10"/>
                    <a:pt x="33" y="95"/>
                    <a:pt x="0" y="209"/>
                  </a:cubicBezTo>
                  <a:cubicBezTo>
                    <a:pt x="58" y="184"/>
                    <a:pt x="58" y="184"/>
                    <a:pt x="58" y="184"/>
                  </a:cubicBezTo>
                  <a:lnTo>
                    <a:pt x="90" y="237"/>
                  </a:lnTo>
                  <a:close/>
                </a:path>
              </a:pathLst>
            </a:custGeom>
            <a:solidFill>
              <a:schemeClr val="accent1"/>
            </a:solidFill>
            <a:ln w="19050">
              <a:solidFill>
                <a:schemeClr val="bg1"/>
              </a:solidFill>
              <a:round/>
              <a:headEnd/>
              <a:tailEnd/>
            </a:ln>
            <a:scene3d>
              <a:camera prst="orthographicFront"/>
              <a:lightRig rig="threePt" dir="t">
                <a:rot lat="0" lon="0" rev="16200000"/>
              </a:lightRig>
            </a:scene3d>
            <a:sp3d extrusionH="127000"/>
          </p:spPr>
          <p:txBody>
            <a:bodyPr/>
            <a:lstStyle/>
            <a:p>
              <a:endParaRPr lang="de-DE" sz="1350"/>
            </a:p>
          </p:txBody>
        </p:sp>
        <p:sp>
          <p:nvSpPr>
            <p:cNvPr id="25" name="Freeform 19">
              <a:extLst>
                <a:ext uri="{FF2B5EF4-FFF2-40B4-BE49-F238E27FC236}">
                  <a16:creationId xmlns:a16="http://schemas.microsoft.com/office/drawing/2014/main" id="{01F791F7-39B2-4550-9485-5863CA602110}"/>
                </a:ext>
              </a:extLst>
            </p:cNvPr>
            <p:cNvSpPr>
              <a:spLocks/>
            </p:cNvSpPr>
            <p:nvPr>
              <p:custDataLst>
                <p:tags r:id="rId2"/>
              </p:custDataLst>
            </p:nvPr>
          </p:nvSpPr>
          <p:spPr bwMode="gray">
            <a:xfrm>
              <a:off x="1143000" y="3169864"/>
              <a:ext cx="1010432" cy="1840744"/>
            </a:xfrm>
            <a:custGeom>
              <a:avLst/>
              <a:gdLst>
                <a:gd name="connsiteX0" fmla="*/ 183 w 183"/>
                <a:gd name="connsiteY0" fmla="*/ 257 h 333"/>
                <a:gd name="connsiteX1" fmla="*/ 98 w 183"/>
                <a:gd name="connsiteY1" fmla="*/ 56 h 333"/>
                <a:gd name="connsiteX2" fmla="*/ 65 w 183"/>
                <a:gd name="connsiteY2" fmla="*/ 0 h 333"/>
                <a:gd name="connsiteX3" fmla="*/ 8 w 183"/>
                <a:gd name="connsiteY3" fmla="*/ 25 h 333"/>
                <a:gd name="connsiteX4" fmla="*/ 0 w 183"/>
                <a:gd name="connsiteY4" fmla="*/ 92 h 333"/>
                <a:gd name="connsiteX5" fmla="*/ 127 w 183"/>
                <a:gd name="connsiteY5" fmla="*/ 333 h 333"/>
                <a:gd name="connsiteX6" fmla="*/ 124 w 183"/>
                <a:gd name="connsiteY6" fmla="*/ 303 h 333"/>
                <a:gd name="connsiteX7" fmla="*/ 121 w 183"/>
                <a:gd name="connsiteY7" fmla="*/ 271 h 333"/>
                <a:gd name="connsiteX8" fmla="*/ 183 w 183"/>
                <a:gd name="connsiteY8" fmla="*/ 257 h 333"/>
                <a:gd name="connsiteX0" fmla="*/ 183 w 183"/>
                <a:gd name="connsiteY0" fmla="*/ 257 h 333"/>
                <a:gd name="connsiteX1" fmla="*/ 98 w 183"/>
                <a:gd name="connsiteY1" fmla="*/ 56 h 333"/>
                <a:gd name="connsiteX2" fmla="*/ 65 w 183"/>
                <a:gd name="connsiteY2" fmla="*/ 0 h 333"/>
                <a:gd name="connsiteX3" fmla="*/ 8 w 183"/>
                <a:gd name="connsiteY3" fmla="*/ 25 h 333"/>
                <a:gd name="connsiteX4" fmla="*/ 0 w 183"/>
                <a:gd name="connsiteY4" fmla="*/ 92 h 333"/>
                <a:gd name="connsiteX5" fmla="*/ 127 w 183"/>
                <a:gd name="connsiteY5" fmla="*/ 333 h 333"/>
                <a:gd name="connsiteX6" fmla="*/ 121 w 183"/>
                <a:gd name="connsiteY6" fmla="*/ 271 h 333"/>
                <a:gd name="connsiteX7" fmla="*/ 183 w 183"/>
                <a:gd name="connsiteY7" fmla="*/ 257 h 333"/>
                <a:gd name="connsiteX0" fmla="*/ 183 w 183"/>
                <a:gd name="connsiteY0" fmla="*/ 257 h 333"/>
                <a:gd name="connsiteX1" fmla="*/ 98 w 183"/>
                <a:gd name="connsiteY1" fmla="*/ 56 h 333"/>
                <a:gd name="connsiteX2" fmla="*/ 65 w 183"/>
                <a:gd name="connsiteY2" fmla="*/ 0 h 333"/>
                <a:gd name="connsiteX3" fmla="*/ 8 w 183"/>
                <a:gd name="connsiteY3" fmla="*/ 25 h 333"/>
                <a:gd name="connsiteX4" fmla="*/ 0 w 183"/>
                <a:gd name="connsiteY4" fmla="*/ 92 h 333"/>
                <a:gd name="connsiteX5" fmla="*/ 127 w 183"/>
                <a:gd name="connsiteY5" fmla="*/ 333 h 333"/>
                <a:gd name="connsiteX6" fmla="*/ 121 w 183"/>
                <a:gd name="connsiteY6" fmla="*/ 271 h 333"/>
                <a:gd name="connsiteX7" fmla="*/ 183 w 183"/>
                <a:gd name="connsiteY7" fmla="*/ 257 h 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 h="333">
                  <a:moveTo>
                    <a:pt x="183" y="257"/>
                  </a:moveTo>
                  <a:cubicBezTo>
                    <a:pt x="116" y="212"/>
                    <a:pt x="84" y="132"/>
                    <a:pt x="98" y="56"/>
                  </a:cubicBezTo>
                  <a:cubicBezTo>
                    <a:pt x="87" y="37"/>
                    <a:pt x="76" y="19"/>
                    <a:pt x="65" y="0"/>
                  </a:cubicBezTo>
                  <a:cubicBezTo>
                    <a:pt x="46" y="8"/>
                    <a:pt x="27" y="17"/>
                    <a:pt x="8" y="25"/>
                  </a:cubicBezTo>
                  <a:cubicBezTo>
                    <a:pt x="3" y="47"/>
                    <a:pt x="0" y="69"/>
                    <a:pt x="0" y="92"/>
                  </a:cubicBezTo>
                  <a:cubicBezTo>
                    <a:pt x="0" y="192"/>
                    <a:pt x="50" y="280"/>
                    <a:pt x="127" y="333"/>
                  </a:cubicBezTo>
                  <a:cubicBezTo>
                    <a:pt x="125" y="312"/>
                    <a:pt x="123" y="292"/>
                    <a:pt x="121" y="271"/>
                  </a:cubicBezTo>
                  <a:cubicBezTo>
                    <a:pt x="142" y="266"/>
                    <a:pt x="162" y="262"/>
                    <a:pt x="183" y="257"/>
                  </a:cubicBezTo>
                  <a:close/>
                </a:path>
              </a:pathLst>
            </a:custGeom>
            <a:solidFill>
              <a:schemeClr val="accent6"/>
            </a:solidFill>
            <a:ln w="19050">
              <a:solidFill>
                <a:schemeClr val="bg1"/>
              </a:solidFill>
              <a:round/>
              <a:headEnd/>
              <a:tailEnd/>
            </a:ln>
            <a:scene3d>
              <a:camera prst="orthographicFront"/>
              <a:lightRig rig="threePt" dir="t">
                <a:rot lat="0" lon="0" rev="16200000"/>
              </a:lightRig>
            </a:scene3d>
            <a:sp3d extrusionH="127000"/>
          </p:spPr>
          <p:txBody>
            <a:bodyPr/>
            <a:lstStyle/>
            <a:p>
              <a:endParaRPr lang="de-DE" sz="1350"/>
            </a:p>
          </p:txBody>
        </p:sp>
        <p:sp>
          <p:nvSpPr>
            <p:cNvPr id="26" name="Freeform 20">
              <a:extLst>
                <a:ext uri="{FF2B5EF4-FFF2-40B4-BE49-F238E27FC236}">
                  <a16:creationId xmlns:a16="http://schemas.microsoft.com/office/drawing/2014/main" id="{B0C9A0B4-5B28-4CF4-A8B3-56A8604A29BA}"/>
                </a:ext>
              </a:extLst>
            </p:cNvPr>
            <p:cNvSpPr>
              <a:spLocks/>
            </p:cNvSpPr>
            <p:nvPr>
              <p:custDataLst>
                <p:tags r:id="rId3"/>
              </p:custDataLst>
            </p:nvPr>
          </p:nvSpPr>
          <p:spPr bwMode="gray">
            <a:xfrm>
              <a:off x="2694712" y="2087794"/>
              <a:ext cx="1515560" cy="1272608"/>
            </a:xfrm>
            <a:custGeom>
              <a:avLst/>
              <a:gdLst/>
              <a:ahLst/>
              <a:cxnLst>
                <a:cxn ang="0">
                  <a:pos x="0" y="95"/>
                </a:cxn>
                <a:cxn ang="0">
                  <a:pos x="107" y="121"/>
                </a:cxn>
                <a:cxn ang="0">
                  <a:pos x="186" y="208"/>
                </a:cxn>
                <a:cxn ang="0">
                  <a:pos x="246" y="233"/>
                </a:cxn>
                <a:cxn ang="0">
                  <a:pos x="278" y="181"/>
                </a:cxn>
                <a:cxn ang="0">
                  <a:pos x="7" y="0"/>
                </a:cxn>
                <a:cxn ang="0">
                  <a:pos x="0" y="1"/>
                </a:cxn>
                <a:cxn ang="0">
                  <a:pos x="41" y="48"/>
                </a:cxn>
                <a:cxn ang="0">
                  <a:pos x="0" y="95"/>
                </a:cxn>
              </a:cxnLst>
              <a:rect l="0" t="0" r="r" b="b"/>
              <a:pathLst>
                <a:path w="278" h="233">
                  <a:moveTo>
                    <a:pt x="0" y="95"/>
                  </a:moveTo>
                  <a:cubicBezTo>
                    <a:pt x="36" y="94"/>
                    <a:pt x="73" y="102"/>
                    <a:pt x="107" y="121"/>
                  </a:cubicBezTo>
                  <a:cubicBezTo>
                    <a:pt x="143" y="142"/>
                    <a:pt x="170" y="173"/>
                    <a:pt x="186" y="208"/>
                  </a:cubicBezTo>
                  <a:cubicBezTo>
                    <a:pt x="246" y="233"/>
                    <a:pt x="246" y="233"/>
                    <a:pt x="246" y="233"/>
                  </a:cubicBezTo>
                  <a:cubicBezTo>
                    <a:pt x="278" y="181"/>
                    <a:pt x="278" y="181"/>
                    <a:pt x="278" y="181"/>
                  </a:cubicBezTo>
                  <a:cubicBezTo>
                    <a:pt x="233" y="75"/>
                    <a:pt x="129" y="0"/>
                    <a:pt x="7" y="0"/>
                  </a:cubicBezTo>
                  <a:cubicBezTo>
                    <a:pt x="5" y="0"/>
                    <a:pt x="2" y="1"/>
                    <a:pt x="0" y="1"/>
                  </a:cubicBezTo>
                  <a:cubicBezTo>
                    <a:pt x="41" y="48"/>
                    <a:pt x="41" y="48"/>
                    <a:pt x="41" y="48"/>
                  </a:cubicBezTo>
                  <a:lnTo>
                    <a:pt x="0" y="95"/>
                  </a:lnTo>
                  <a:close/>
                </a:path>
              </a:pathLst>
            </a:custGeom>
            <a:solidFill>
              <a:schemeClr val="accent2"/>
            </a:solidFill>
            <a:ln w="19050">
              <a:solidFill>
                <a:schemeClr val="bg1"/>
              </a:solidFill>
              <a:round/>
              <a:headEnd/>
              <a:tailEnd/>
            </a:ln>
            <a:scene3d>
              <a:camera prst="orthographicFront"/>
              <a:lightRig rig="threePt" dir="t">
                <a:rot lat="0" lon="0" rev="16200000"/>
              </a:lightRig>
            </a:scene3d>
            <a:sp3d extrusionH="127000"/>
          </p:spPr>
          <p:txBody>
            <a:bodyPr/>
            <a:lstStyle/>
            <a:p>
              <a:endParaRPr lang="de-DE" sz="1350"/>
            </a:p>
          </p:txBody>
        </p:sp>
        <p:sp>
          <p:nvSpPr>
            <p:cNvPr id="27" name="Freeform 21">
              <a:extLst>
                <a:ext uri="{FF2B5EF4-FFF2-40B4-BE49-F238E27FC236}">
                  <a16:creationId xmlns:a16="http://schemas.microsoft.com/office/drawing/2014/main" id="{5CA14EB1-DFFA-4FFA-9EBA-CC9A24F1E5D0}"/>
                </a:ext>
              </a:extLst>
            </p:cNvPr>
            <p:cNvSpPr>
              <a:spLocks/>
            </p:cNvSpPr>
            <p:nvPr>
              <p:custDataLst>
                <p:tags r:id="rId4"/>
              </p:custDataLst>
            </p:nvPr>
          </p:nvSpPr>
          <p:spPr bwMode="gray">
            <a:xfrm>
              <a:off x="3445262" y="3155050"/>
              <a:ext cx="885041" cy="1741159"/>
            </a:xfrm>
            <a:custGeom>
              <a:avLst/>
              <a:gdLst/>
              <a:ahLst/>
              <a:cxnLst>
                <a:cxn ang="0">
                  <a:pos x="162" y="97"/>
                </a:cxn>
                <a:cxn ang="0">
                  <a:pos x="146" y="0"/>
                </a:cxn>
                <a:cxn ang="0">
                  <a:pos x="114" y="54"/>
                </a:cxn>
                <a:cxn ang="0">
                  <a:pos x="56" y="29"/>
                </a:cxn>
                <a:cxn ang="0">
                  <a:pos x="41" y="196"/>
                </a:cxn>
                <a:cxn ang="0">
                  <a:pos x="6" y="241"/>
                </a:cxn>
                <a:cxn ang="0">
                  <a:pos x="0" y="306"/>
                </a:cxn>
                <a:cxn ang="0">
                  <a:pos x="60" y="319"/>
                </a:cxn>
                <a:cxn ang="0">
                  <a:pos x="162" y="97"/>
                </a:cxn>
              </a:cxnLst>
              <a:rect l="0" t="0" r="r" b="b"/>
              <a:pathLst>
                <a:path w="162" h="319">
                  <a:moveTo>
                    <a:pt x="162" y="97"/>
                  </a:moveTo>
                  <a:cubicBezTo>
                    <a:pt x="162" y="63"/>
                    <a:pt x="156" y="31"/>
                    <a:pt x="146" y="0"/>
                  </a:cubicBezTo>
                  <a:cubicBezTo>
                    <a:pt x="114" y="54"/>
                    <a:pt x="114" y="54"/>
                    <a:pt x="114" y="54"/>
                  </a:cubicBezTo>
                  <a:cubicBezTo>
                    <a:pt x="56" y="29"/>
                    <a:pt x="56" y="29"/>
                    <a:pt x="56" y="29"/>
                  </a:cubicBezTo>
                  <a:cubicBezTo>
                    <a:pt x="75" y="82"/>
                    <a:pt x="72" y="144"/>
                    <a:pt x="41" y="196"/>
                  </a:cubicBezTo>
                  <a:cubicBezTo>
                    <a:pt x="32" y="213"/>
                    <a:pt x="20" y="228"/>
                    <a:pt x="6" y="241"/>
                  </a:cubicBezTo>
                  <a:cubicBezTo>
                    <a:pt x="0" y="306"/>
                    <a:pt x="0" y="306"/>
                    <a:pt x="0" y="306"/>
                  </a:cubicBezTo>
                  <a:cubicBezTo>
                    <a:pt x="60" y="319"/>
                    <a:pt x="60" y="319"/>
                    <a:pt x="60" y="319"/>
                  </a:cubicBezTo>
                  <a:cubicBezTo>
                    <a:pt x="123" y="266"/>
                    <a:pt x="162" y="186"/>
                    <a:pt x="162" y="97"/>
                  </a:cubicBezTo>
                  <a:close/>
                </a:path>
              </a:pathLst>
            </a:custGeom>
            <a:solidFill>
              <a:schemeClr val="accent3"/>
            </a:solidFill>
            <a:ln w="19050">
              <a:solidFill>
                <a:schemeClr val="bg1"/>
              </a:solidFill>
              <a:round/>
              <a:headEnd/>
              <a:tailEnd/>
            </a:ln>
            <a:scene3d>
              <a:camera prst="orthographicFront"/>
              <a:lightRig rig="threePt" dir="t">
                <a:rot lat="0" lon="0" rev="16200000"/>
              </a:lightRig>
            </a:scene3d>
            <a:sp3d extrusionH="127000"/>
          </p:spPr>
          <p:txBody>
            <a:bodyPr/>
            <a:lstStyle/>
            <a:p>
              <a:endParaRPr lang="de-DE" sz="1350"/>
            </a:p>
          </p:txBody>
        </p:sp>
        <p:sp>
          <p:nvSpPr>
            <p:cNvPr id="28" name="Freeform 22">
              <a:extLst>
                <a:ext uri="{FF2B5EF4-FFF2-40B4-BE49-F238E27FC236}">
                  <a16:creationId xmlns:a16="http://schemas.microsoft.com/office/drawing/2014/main" id="{C86A078E-12A8-4BCB-979A-5E3FB1D0BDC3}"/>
                </a:ext>
              </a:extLst>
            </p:cNvPr>
            <p:cNvSpPr>
              <a:spLocks/>
            </p:cNvSpPr>
            <p:nvPr>
              <p:custDataLst>
                <p:tags r:id="rId5"/>
              </p:custDataLst>
            </p:nvPr>
          </p:nvSpPr>
          <p:spPr bwMode="gray">
            <a:xfrm>
              <a:off x="1870410" y="4536119"/>
              <a:ext cx="1832266" cy="747657"/>
            </a:xfrm>
            <a:custGeom>
              <a:avLst/>
              <a:gdLst/>
              <a:ahLst/>
              <a:cxnLst>
                <a:cxn ang="0">
                  <a:pos x="281" y="0"/>
                </a:cxn>
                <a:cxn ang="0">
                  <a:pos x="64" y="19"/>
                </a:cxn>
                <a:cxn ang="0">
                  <a:pos x="0" y="33"/>
                </a:cxn>
                <a:cxn ang="0">
                  <a:pos x="6" y="94"/>
                </a:cxn>
                <a:cxn ang="0">
                  <a:pos x="158" y="137"/>
                </a:cxn>
                <a:cxn ang="0">
                  <a:pos x="336" y="77"/>
                </a:cxn>
                <a:cxn ang="0">
                  <a:pos x="275" y="63"/>
                </a:cxn>
                <a:cxn ang="0">
                  <a:pos x="281" y="0"/>
                </a:cxn>
              </a:cxnLst>
              <a:rect l="0" t="0" r="r" b="b"/>
              <a:pathLst>
                <a:path w="336" h="137">
                  <a:moveTo>
                    <a:pt x="281" y="0"/>
                  </a:moveTo>
                  <a:cubicBezTo>
                    <a:pt x="220" y="48"/>
                    <a:pt x="135" y="57"/>
                    <a:pt x="64" y="19"/>
                  </a:cubicBezTo>
                  <a:cubicBezTo>
                    <a:pt x="0" y="33"/>
                    <a:pt x="0" y="33"/>
                    <a:pt x="0" y="33"/>
                  </a:cubicBezTo>
                  <a:cubicBezTo>
                    <a:pt x="6" y="94"/>
                    <a:pt x="6" y="94"/>
                    <a:pt x="6" y="94"/>
                  </a:cubicBezTo>
                  <a:cubicBezTo>
                    <a:pt x="50" y="122"/>
                    <a:pt x="102" y="137"/>
                    <a:pt x="158" y="137"/>
                  </a:cubicBezTo>
                  <a:cubicBezTo>
                    <a:pt x="225" y="137"/>
                    <a:pt x="287" y="115"/>
                    <a:pt x="336" y="77"/>
                  </a:cubicBezTo>
                  <a:cubicBezTo>
                    <a:pt x="275" y="63"/>
                    <a:pt x="275" y="63"/>
                    <a:pt x="275" y="63"/>
                  </a:cubicBezTo>
                  <a:lnTo>
                    <a:pt x="281" y="0"/>
                  </a:lnTo>
                  <a:close/>
                </a:path>
              </a:pathLst>
            </a:custGeom>
            <a:solidFill>
              <a:schemeClr val="accent4"/>
            </a:solidFill>
            <a:ln w="19050">
              <a:solidFill>
                <a:schemeClr val="bg1"/>
              </a:solidFill>
              <a:round/>
              <a:headEnd/>
              <a:tailEnd/>
            </a:ln>
            <a:scene3d>
              <a:camera prst="orthographicFront"/>
              <a:lightRig rig="threePt" dir="t">
                <a:rot lat="0" lon="0" rev="16200000"/>
              </a:lightRig>
            </a:scene3d>
            <a:sp3d extrusionH="127000"/>
          </p:spPr>
          <p:txBody>
            <a:bodyPr/>
            <a:lstStyle/>
            <a:p>
              <a:endParaRPr lang="de-DE" sz="1350"/>
            </a:p>
          </p:txBody>
        </p:sp>
      </p:grpSp>
    </p:spTree>
    <p:extLst>
      <p:ext uri="{BB962C8B-B14F-4D97-AF65-F5344CB8AC3E}">
        <p14:creationId xmlns:p14="http://schemas.microsoft.com/office/powerpoint/2010/main" val="975296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EE0C2E-D43C-4A61-BB6B-9217756CACCB}"/>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0569CCF0-14EB-4429-A230-06CFFB6B3D94}"/>
              </a:ext>
            </a:extLst>
          </p:cNvPr>
          <p:cNvSpPr>
            <a:spLocks noGrp="1"/>
          </p:cNvSpPr>
          <p:nvPr>
            <p:ph type="body" sz="quarter" idx="27"/>
          </p:nvPr>
        </p:nvSpPr>
        <p:spPr>
          <a:xfrm>
            <a:off x="8521471" y="5939439"/>
            <a:ext cx="3057754" cy="215444"/>
          </a:xfrm>
        </p:spPr>
        <p:txBody>
          <a:bodyPr/>
          <a:lstStyle/>
          <a:p>
            <a:r>
              <a:rPr lang="en-US"/>
              <a:t>Source: Sieck C, </a:t>
            </a:r>
            <a:r>
              <a:rPr lang="en-US" err="1"/>
              <a:t>Sheon</a:t>
            </a:r>
            <a:r>
              <a:rPr lang="en-US"/>
              <a:t> A, </a:t>
            </a:r>
            <a:r>
              <a:rPr lang="en-US" err="1"/>
              <a:t>Ancker</a:t>
            </a:r>
            <a:r>
              <a:rPr lang="en-US"/>
              <a:t> J, </a:t>
            </a:r>
            <a:r>
              <a:rPr lang="en-US" err="1"/>
              <a:t>Castek</a:t>
            </a:r>
            <a:r>
              <a:rPr lang="en-US"/>
              <a:t> J, Callahan B and </a:t>
            </a:r>
            <a:r>
              <a:rPr lang="en-US" err="1"/>
              <a:t>Siefer</a:t>
            </a:r>
            <a:r>
              <a:rPr lang="en-US"/>
              <a:t> A, “</a:t>
            </a:r>
            <a:r>
              <a:rPr lang="en-US">
                <a:hlinkClick r:id="rId3"/>
              </a:rPr>
              <a:t>Digital inclusion as a social determinant of health</a:t>
            </a:r>
            <a:r>
              <a:rPr lang="en-US"/>
              <a:t>,” March 17, 2021, </a:t>
            </a:r>
            <a:r>
              <a:rPr lang="en-US" i="1"/>
              <a:t>Nature</a:t>
            </a:r>
            <a:r>
              <a:rPr lang="en-US"/>
              <a:t>. </a:t>
            </a:r>
          </a:p>
        </p:txBody>
      </p:sp>
      <p:sp>
        <p:nvSpPr>
          <p:cNvPr id="4" name="Title 3">
            <a:extLst>
              <a:ext uri="{FF2B5EF4-FFF2-40B4-BE49-F238E27FC236}">
                <a16:creationId xmlns:a16="http://schemas.microsoft.com/office/drawing/2014/main" id="{22B12337-CA2F-4692-AC07-EF2C2A78210F}"/>
              </a:ext>
            </a:extLst>
          </p:cNvPr>
          <p:cNvSpPr>
            <a:spLocks noGrp="1"/>
          </p:cNvSpPr>
          <p:nvPr>
            <p:ph type="title"/>
          </p:nvPr>
        </p:nvSpPr>
        <p:spPr/>
        <p:txBody>
          <a:bodyPr/>
          <a:lstStyle/>
          <a:p>
            <a:r>
              <a:rPr lang="en-US"/>
              <a:t>What is digital inequity?</a:t>
            </a:r>
          </a:p>
        </p:txBody>
      </p:sp>
      <p:grpSp>
        <p:nvGrpSpPr>
          <p:cNvPr id="31" name="Group 30">
            <a:extLst>
              <a:ext uri="{FF2B5EF4-FFF2-40B4-BE49-F238E27FC236}">
                <a16:creationId xmlns:a16="http://schemas.microsoft.com/office/drawing/2014/main" id="{16BB8815-5BD3-480B-8897-A32B07895A50}"/>
              </a:ext>
            </a:extLst>
          </p:cNvPr>
          <p:cNvGrpSpPr/>
          <p:nvPr/>
        </p:nvGrpSpPr>
        <p:grpSpPr>
          <a:xfrm>
            <a:off x="8478620" y="3511711"/>
            <a:ext cx="1054172" cy="1054172"/>
            <a:chOff x="3285782" y="3570022"/>
            <a:chExt cx="1054172" cy="1054172"/>
          </a:xfrm>
        </p:grpSpPr>
        <p:sp>
          <p:nvSpPr>
            <p:cNvPr id="6" name="Oval 5">
              <a:extLst>
                <a:ext uri="{FF2B5EF4-FFF2-40B4-BE49-F238E27FC236}">
                  <a16:creationId xmlns:a16="http://schemas.microsoft.com/office/drawing/2014/main" id="{5B5AB754-355E-444E-AB9A-2D31A182A559}"/>
                </a:ext>
              </a:extLst>
            </p:cNvPr>
            <p:cNvSpPr>
              <a:spLocks noChangeAspect="1"/>
            </p:cNvSpPr>
            <p:nvPr/>
          </p:nvSpPr>
          <p:spPr bwMode="gray">
            <a:xfrm>
              <a:off x="3285782" y="3570022"/>
              <a:ext cx="1054172" cy="1054172"/>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32"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FD8B0737-23A8-4AD6-A257-5F865601DA86}"/>
                </a:ext>
              </a:extLst>
            </p:cNvPr>
            <p:cNvPicPr>
              <a:picLocks noChangeAspect="1"/>
            </p:cNvPicPr>
            <p:nvPr/>
          </p:nvPicPr>
          <p:blipFill>
            <a:blip r:embed="rId4"/>
            <a:srcRect/>
            <a:stretch/>
          </p:blipFill>
          <p:spPr>
            <a:xfrm>
              <a:off x="3474834" y="3817485"/>
              <a:ext cx="676070" cy="559247"/>
            </a:xfrm>
            <a:prstGeom prst="rect">
              <a:avLst/>
            </a:prstGeom>
          </p:spPr>
        </p:pic>
      </p:grpSp>
      <p:cxnSp>
        <p:nvCxnSpPr>
          <p:cNvPr id="8" name="Straight Connector 7">
            <a:extLst>
              <a:ext uri="{FF2B5EF4-FFF2-40B4-BE49-F238E27FC236}">
                <a16:creationId xmlns:a16="http://schemas.microsoft.com/office/drawing/2014/main" id="{2C7C0918-1734-4E50-8C8F-E293A40383AA}"/>
              </a:ext>
            </a:extLst>
          </p:cNvPr>
          <p:cNvCxnSpPr>
            <a:cxnSpLocks/>
          </p:cNvCxnSpPr>
          <p:nvPr/>
        </p:nvCxnSpPr>
        <p:spPr bwMode="gray">
          <a:xfrm flipV="1">
            <a:off x="9633891" y="3318163"/>
            <a:ext cx="656076"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B681C69-5C82-4D36-87F9-DF3C3BEA909D}"/>
              </a:ext>
            </a:extLst>
          </p:cNvPr>
          <p:cNvCxnSpPr>
            <a:cxnSpLocks/>
          </p:cNvCxnSpPr>
          <p:nvPr/>
        </p:nvCxnSpPr>
        <p:spPr bwMode="gray">
          <a:xfrm>
            <a:off x="9589741" y="4398478"/>
            <a:ext cx="656076"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6D4E120-AFC5-42DE-ABDC-430F29831F02}"/>
              </a:ext>
            </a:extLst>
          </p:cNvPr>
          <p:cNvCxnSpPr>
            <a:cxnSpLocks/>
          </p:cNvCxnSpPr>
          <p:nvPr/>
        </p:nvCxnSpPr>
        <p:spPr bwMode="gray">
          <a:xfrm flipH="1">
            <a:off x="7745829" y="4398478"/>
            <a:ext cx="653907"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6D35E2C-4261-424C-8BBF-774EF2471900}"/>
              </a:ext>
            </a:extLst>
          </p:cNvPr>
          <p:cNvCxnSpPr>
            <a:cxnSpLocks/>
          </p:cNvCxnSpPr>
          <p:nvPr/>
        </p:nvCxnSpPr>
        <p:spPr bwMode="gray">
          <a:xfrm flipH="1" flipV="1">
            <a:off x="7737095" y="3316319"/>
            <a:ext cx="656076" cy="329882"/>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9A85BD-DC81-48AF-97AB-9D5D64E390C4}"/>
              </a:ext>
            </a:extLst>
          </p:cNvPr>
          <p:cNvCxnSpPr>
            <a:cxnSpLocks/>
          </p:cNvCxnSpPr>
          <p:nvPr/>
        </p:nvCxnSpPr>
        <p:spPr bwMode="gray">
          <a:xfrm flipH="1">
            <a:off x="9006044" y="4714839"/>
            <a:ext cx="0" cy="656076"/>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10862A2-9BF7-4D16-9391-7B178C6625D0}"/>
              </a:ext>
            </a:extLst>
          </p:cNvPr>
          <p:cNvSpPr txBox="1"/>
          <p:nvPr/>
        </p:nvSpPr>
        <p:spPr bwMode="gray">
          <a:xfrm>
            <a:off x="5903251" y="3081776"/>
            <a:ext cx="1784720" cy="46166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41"/>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Broadband connectivity </a:t>
            </a:r>
          </a:p>
        </p:txBody>
      </p:sp>
      <p:cxnSp>
        <p:nvCxnSpPr>
          <p:cNvPr id="14" name="Straight Connector 13">
            <a:extLst>
              <a:ext uri="{FF2B5EF4-FFF2-40B4-BE49-F238E27FC236}">
                <a16:creationId xmlns:a16="http://schemas.microsoft.com/office/drawing/2014/main" id="{71480117-6E8F-453E-A376-01B2DD1BC5A8}"/>
              </a:ext>
            </a:extLst>
          </p:cNvPr>
          <p:cNvCxnSpPr>
            <a:cxnSpLocks/>
          </p:cNvCxnSpPr>
          <p:nvPr/>
        </p:nvCxnSpPr>
        <p:spPr bwMode="gray">
          <a:xfrm flipH="1">
            <a:off x="9005706" y="2584811"/>
            <a:ext cx="338" cy="656076"/>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989A1F0-26F6-42CC-955A-7E561B95527D}"/>
              </a:ext>
            </a:extLst>
          </p:cNvPr>
          <p:cNvSpPr txBox="1"/>
          <p:nvPr/>
        </p:nvSpPr>
        <p:spPr bwMode="gray">
          <a:xfrm>
            <a:off x="6292669" y="4659546"/>
            <a:ext cx="1395302" cy="2308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41"/>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Device access</a:t>
            </a:r>
          </a:p>
        </p:txBody>
      </p:sp>
      <p:sp>
        <p:nvSpPr>
          <p:cNvPr id="16" name="TextBox 15">
            <a:extLst>
              <a:ext uri="{FF2B5EF4-FFF2-40B4-BE49-F238E27FC236}">
                <a16:creationId xmlns:a16="http://schemas.microsoft.com/office/drawing/2014/main" id="{EB5CB31C-684C-4CD4-88AB-4D8893AC41E0}"/>
              </a:ext>
            </a:extLst>
          </p:cNvPr>
          <p:cNvSpPr txBox="1"/>
          <p:nvPr/>
        </p:nvSpPr>
        <p:spPr bwMode="gray">
          <a:xfrm>
            <a:off x="8051628" y="2326121"/>
            <a:ext cx="1892231"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Trust</a:t>
            </a:r>
          </a:p>
        </p:txBody>
      </p:sp>
      <p:sp>
        <p:nvSpPr>
          <p:cNvPr id="17" name="TextBox 16">
            <a:extLst>
              <a:ext uri="{FF2B5EF4-FFF2-40B4-BE49-F238E27FC236}">
                <a16:creationId xmlns:a16="http://schemas.microsoft.com/office/drawing/2014/main" id="{68EF6B63-DBA1-4DD8-BC3F-3416E230771E}"/>
              </a:ext>
            </a:extLst>
          </p:cNvPr>
          <p:cNvSpPr txBox="1"/>
          <p:nvPr/>
        </p:nvSpPr>
        <p:spPr bwMode="gray">
          <a:xfrm>
            <a:off x="10339091" y="3081776"/>
            <a:ext cx="1851730" cy="230832"/>
          </a:xfrm>
          <a:prstGeom prst="rect">
            <a:avLst/>
          </a:prstGeom>
          <a:noFill/>
        </p:spPr>
        <p:txBody>
          <a:bodyPr wrap="square" lIns="0" tIns="0" rIns="0" bIns="0" rtlCol="0">
            <a:spAutoFit/>
          </a:bodyPr>
          <a:lstStyle/>
          <a:p>
            <a:pPr lvl="0">
              <a:spcBef>
                <a:spcPts val="341"/>
              </a:spcBef>
              <a:buClr>
                <a:srgbClr val="CE0E2D"/>
              </a:buClr>
              <a:defRPr/>
            </a:pPr>
            <a:r>
              <a:rPr lang="en-US" sz="1500">
                <a:solidFill>
                  <a:srgbClr val="323E48"/>
                </a:solidFill>
              </a:rPr>
              <a:t>Digital literacy	</a:t>
            </a:r>
          </a:p>
        </p:txBody>
      </p:sp>
      <p:sp>
        <p:nvSpPr>
          <p:cNvPr id="18" name="TextBox 17">
            <a:extLst>
              <a:ext uri="{FF2B5EF4-FFF2-40B4-BE49-F238E27FC236}">
                <a16:creationId xmlns:a16="http://schemas.microsoft.com/office/drawing/2014/main" id="{8E7268A6-E6CB-4C85-A00B-7BA9D674D741}"/>
              </a:ext>
            </a:extLst>
          </p:cNvPr>
          <p:cNvSpPr txBox="1"/>
          <p:nvPr/>
        </p:nvSpPr>
        <p:spPr bwMode="gray">
          <a:xfrm>
            <a:off x="8203287" y="5382434"/>
            <a:ext cx="1620487"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Affordability</a:t>
            </a:r>
          </a:p>
        </p:txBody>
      </p:sp>
      <p:sp>
        <p:nvSpPr>
          <p:cNvPr id="19" name="TextBox 18">
            <a:extLst>
              <a:ext uri="{FF2B5EF4-FFF2-40B4-BE49-F238E27FC236}">
                <a16:creationId xmlns:a16="http://schemas.microsoft.com/office/drawing/2014/main" id="{5616583D-2EEB-4D6C-A19A-7D1F1A705E5C}"/>
              </a:ext>
            </a:extLst>
          </p:cNvPr>
          <p:cNvSpPr txBox="1"/>
          <p:nvPr/>
        </p:nvSpPr>
        <p:spPr bwMode="gray">
          <a:xfrm>
            <a:off x="10339091" y="4659546"/>
            <a:ext cx="1325509"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41"/>
              </a:spcBef>
              <a:spcAft>
                <a:spcPts val="0"/>
              </a:spcAft>
              <a:buClr>
                <a:srgbClr val="CE0E2D"/>
              </a:buClr>
              <a:buSzTx/>
              <a:buFontTx/>
              <a:buNone/>
              <a:tabLst/>
              <a:defRPr/>
            </a:pPr>
            <a:r>
              <a:rPr lang="en-US" sz="1500">
                <a:solidFill>
                  <a:srgbClr val="323E48"/>
                </a:solidFill>
                <a:latin typeface="Arial" panose="020B0604020202020204"/>
              </a:rPr>
              <a:t>UX Accessibility</a:t>
            </a:r>
            <a:endParaRPr kumimoji="0" lang="en-US" sz="1500" b="0" i="0" u="none" strike="sngStrike" kern="1200" cap="none" spc="0" normalizeH="0" baseline="0" noProof="0">
              <a:ln>
                <a:noFill/>
              </a:ln>
              <a:solidFill>
                <a:srgbClr val="FF0000"/>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12532365-2C1E-4BD5-8C6E-D24750D0A984}"/>
              </a:ext>
            </a:extLst>
          </p:cNvPr>
          <p:cNvSpPr txBox="1"/>
          <p:nvPr/>
        </p:nvSpPr>
        <p:spPr bwMode="gray">
          <a:xfrm>
            <a:off x="6583078" y="1750674"/>
            <a:ext cx="6202496"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Elements of digital inequity </a:t>
            </a:r>
          </a:p>
        </p:txBody>
      </p:sp>
      <p:grpSp>
        <p:nvGrpSpPr>
          <p:cNvPr id="46" name="Group 45">
            <a:extLst>
              <a:ext uri="{FF2B5EF4-FFF2-40B4-BE49-F238E27FC236}">
                <a16:creationId xmlns:a16="http://schemas.microsoft.com/office/drawing/2014/main" id="{EB0FAEDE-28C8-4E21-8538-09E7AABA4A7C}"/>
              </a:ext>
            </a:extLst>
          </p:cNvPr>
          <p:cNvGrpSpPr>
            <a:grpSpLocks noChangeAspect="1"/>
          </p:cNvGrpSpPr>
          <p:nvPr/>
        </p:nvGrpSpPr>
        <p:grpSpPr bwMode="gray">
          <a:xfrm>
            <a:off x="612770" y="2441537"/>
            <a:ext cx="623542" cy="533546"/>
            <a:chOff x="875323" y="2298542"/>
            <a:chExt cx="307976" cy="263525"/>
          </a:xfrm>
          <a:solidFill>
            <a:schemeClr val="accent1"/>
          </a:solidFill>
        </p:grpSpPr>
        <p:sp>
          <p:nvSpPr>
            <p:cNvPr id="47" name="Freeform 82">
              <a:extLst>
                <a:ext uri="{FF2B5EF4-FFF2-40B4-BE49-F238E27FC236}">
                  <a16:creationId xmlns:a16="http://schemas.microsoft.com/office/drawing/2014/main" id="{3B961813-B895-41C9-B325-C98D9578376B}"/>
                </a:ext>
              </a:extLst>
            </p:cNvPr>
            <p:cNvSpPr>
              <a:spLocks/>
            </p:cNvSpPr>
            <p:nvPr/>
          </p:nvSpPr>
          <p:spPr bwMode="gray">
            <a:xfrm>
              <a:off x="1042011" y="2298542"/>
              <a:ext cx="141288" cy="263525"/>
            </a:xfrm>
            <a:custGeom>
              <a:avLst/>
              <a:gdLst>
                <a:gd name="T0" fmla="*/ 1467 w 1517"/>
                <a:gd name="T1" fmla="*/ 169 h 2830"/>
                <a:gd name="T2" fmla="*/ 1364 w 1517"/>
                <a:gd name="T3" fmla="*/ 277 h 2830"/>
                <a:gd name="T4" fmla="*/ 1246 w 1517"/>
                <a:gd name="T5" fmla="*/ 406 h 2830"/>
                <a:gd name="T6" fmla="*/ 1121 w 1517"/>
                <a:gd name="T7" fmla="*/ 548 h 2830"/>
                <a:gd name="T8" fmla="*/ 994 w 1517"/>
                <a:gd name="T9" fmla="*/ 700 h 2830"/>
                <a:gd name="T10" fmla="*/ 874 w 1517"/>
                <a:gd name="T11" fmla="*/ 854 h 2830"/>
                <a:gd name="T12" fmla="*/ 766 w 1517"/>
                <a:gd name="T13" fmla="*/ 1006 h 2830"/>
                <a:gd name="T14" fmla="*/ 676 w 1517"/>
                <a:gd name="T15" fmla="*/ 1148 h 2830"/>
                <a:gd name="T16" fmla="*/ 613 w 1517"/>
                <a:gd name="T17" fmla="*/ 1277 h 2830"/>
                <a:gd name="T18" fmla="*/ 581 w 1517"/>
                <a:gd name="T19" fmla="*/ 1385 h 2830"/>
                <a:gd name="T20" fmla="*/ 586 w 1517"/>
                <a:gd name="T21" fmla="*/ 1451 h 2830"/>
                <a:gd name="T22" fmla="*/ 615 w 1517"/>
                <a:gd name="T23" fmla="*/ 1481 h 2830"/>
                <a:gd name="T24" fmla="*/ 652 w 1517"/>
                <a:gd name="T25" fmla="*/ 1493 h 2830"/>
                <a:gd name="T26" fmla="*/ 679 w 1517"/>
                <a:gd name="T27" fmla="*/ 1495 h 2830"/>
                <a:gd name="T28" fmla="*/ 770 w 1517"/>
                <a:gd name="T29" fmla="*/ 1496 h 2830"/>
                <a:gd name="T30" fmla="*/ 873 w 1517"/>
                <a:gd name="T31" fmla="*/ 1500 h 2830"/>
                <a:gd name="T32" fmla="*/ 983 w 1517"/>
                <a:gd name="T33" fmla="*/ 1512 h 2830"/>
                <a:gd name="T34" fmla="*/ 1094 w 1517"/>
                <a:gd name="T35" fmla="*/ 1535 h 2830"/>
                <a:gd name="T36" fmla="*/ 1202 w 1517"/>
                <a:gd name="T37" fmla="*/ 1574 h 2830"/>
                <a:gd name="T38" fmla="*/ 1302 w 1517"/>
                <a:gd name="T39" fmla="*/ 1632 h 2830"/>
                <a:gd name="T40" fmla="*/ 1389 w 1517"/>
                <a:gd name="T41" fmla="*/ 1714 h 2830"/>
                <a:gd name="T42" fmla="*/ 1456 w 1517"/>
                <a:gd name="T43" fmla="*/ 1822 h 2830"/>
                <a:gd name="T44" fmla="*/ 1501 w 1517"/>
                <a:gd name="T45" fmla="*/ 1959 h 2830"/>
                <a:gd name="T46" fmla="*/ 1517 w 1517"/>
                <a:gd name="T47" fmla="*/ 2132 h 2830"/>
                <a:gd name="T48" fmla="*/ 1497 w 1517"/>
                <a:gd name="T49" fmla="*/ 2279 h 2830"/>
                <a:gd name="T50" fmla="*/ 1440 w 1517"/>
                <a:gd name="T51" fmla="*/ 2424 h 2830"/>
                <a:gd name="T52" fmla="*/ 1347 w 1517"/>
                <a:gd name="T53" fmla="*/ 2559 h 2830"/>
                <a:gd name="T54" fmla="*/ 1224 w 1517"/>
                <a:gd name="T55" fmla="*/ 2676 h 2830"/>
                <a:gd name="T56" fmla="*/ 1071 w 1517"/>
                <a:gd name="T57" fmla="*/ 2766 h 2830"/>
                <a:gd name="T58" fmla="*/ 891 w 1517"/>
                <a:gd name="T59" fmla="*/ 2819 h 2830"/>
                <a:gd name="T60" fmla="*/ 692 w 1517"/>
                <a:gd name="T61" fmla="*/ 2828 h 2830"/>
                <a:gd name="T62" fmla="*/ 513 w 1517"/>
                <a:gd name="T63" fmla="*/ 2793 h 2830"/>
                <a:gd name="T64" fmla="*/ 361 w 1517"/>
                <a:gd name="T65" fmla="*/ 2723 h 2830"/>
                <a:gd name="T66" fmla="*/ 237 w 1517"/>
                <a:gd name="T67" fmla="*/ 2624 h 2830"/>
                <a:gd name="T68" fmla="*/ 140 w 1517"/>
                <a:gd name="T69" fmla="*/ 2503 h 2830"/>
                <a:gd name="T70" fmla="*/ 68 w 1517"/>
                <a:gd name="T71" fmla="*/ 2368 h 2830"/>
                <a:gd name="T72" fmla="*/ 22 w 1517"/>
                <a:gd name="T73" fmla="*/ 2224 h 2830"/>
                <a:gd name="T74" fmla="*/ 2 w 1517"/>
                <a:gd name="T75" fmla="*/ 2080 h 2830"/>
                <a:gd name="T76" fmla="*/ 5 w 1517"/>
                <a:gd name="T77" fmla="*/ 1929 h 2830"/>
                <a:gd name="T78" fmla="*/ 29 w 1517"/>
                <a:gd name="T79" fmla="*/ 1767 h 2830"/>
                <a:gd name="T80" fmla="*/ 77 w 1517"/>
                <a:gd name="T81" fmla="*/ 1595 h 2830"/>
                <a:gd name="T82" fmla="*/ 152 w 1517"/>
                <a:gd name="T83" fmla="*/ 1415 h 2830"/>
                <a:gd name="T84" fmla="*/ 257 w 1517"/>
                <a:gd name="T85" fmla="*/ 1222 h 2830"/>
                <a:gd name="T86" fmla="*/ 394 w 1517"/>
                <a:gd name="T87" fmla="*/ 1014 h 2830"/>
                <a:gd name="T88" fmla="*/ 565 w 1517"/>
                <a:gd name="T89" fmla="*/ 790 h 2830"/>
                <a:gd name="T90" fmla="*/ 774 w 1517"/>
                <a:gd name="T91" fmla="*/ 547 h 2830"/>
                <a:gd name="T92" fmla="*/ 1024 w 1517"/>
                <a:gd name="T93" fmla="*/ 285 h 2830"/>
                <a:gd name="T94" fmla="*/ 1318 w 1517"/>
                <a:gd name="T95" fmla="*/ 0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7" h="2830">
                  <a:moveTo>
                    <a:pt x="1318" y="0"/>
                  </a:moveTo>
                  <a:lnTo>
                    <a:pt x="1497" y="139"/>
                  </a:lnTo>
                  <a:lnTo>
                    <a:pt x="1467" y="169"/>
                  </a:lnTo>
                  <a:lnTo>
                    <a:pt x="1434" y="203"/>
                  </a:lnTo>
                  <a:lnTo>
                    <a:pt x="1399" y="239"/>
                  </a:lnTo>
                  <a:lnTo>
                    <a:pt x="1364" y="277"/>
                  </a:lnTo>
                  <a:lnTo>
                    <a:pt x="1326" y="318"/>
                  </a:lnTo>
                  <a:lnTo>
                    <a:pt x="1286" y="361"/>
                  </a:lnTo>
                  <a:lnTo>
                    <a:pt x="1246" y="406"/>
                  </a:lnTo>
                  <a:lnTo>
                    <a:pt x="1205" y="452"/>
                  </a:lnTo>
                  <a:lnTo>
                    <a:pt x="1163" y="499"/>
                  </a:lnTo>
                  <a:lnTo>
                    <a:pt x="1121" y="548"/>
                  </a:lnTo>
                  <a:lnTo>
                    <a:pt x="1078" y="598"/>
                  </a:lnTo>
                  <a:lnTo>
                    <a:pt x="1036" y="649"/>
                  </a:lnTo>
                  <a:lnTo>
                    <a:pt x="994" y="700"/>
                  </a:lnTo>
                  <a:lnTo>
                    <a:pt x="954" y="751"/>
                  </a:lnTo>
                  <a:lnTo>
                    <a:pt x="913" y="803"/>
                  </a:lnTo>
                  <a:lnTo>
                    <a:pt x="874" y="854"/>
                  </a:lnTo>
                  <a:lnTo>
                    <a:pt x="836" y="906"/>
                  </a:lnTo>
                  <a:lnTo>
                    <a:pt x="801" y="956"/>
                  </a:lnTo>
                  <a:lnTo>
                    <a:pt x="766" y="1006"/>
                  </a:lnTo>
                  <a:lnTo>
                    <a:pt x="733" y="1055"/>
                  </a:lnTo>
                  <a:lnTo>
                    <a:pt x="704" y="1102"/>
                  </a:lnTo>
                  <a:lnTo>
                    <a:pt x="676" y="1148"/>
                  </a:lnTo>
                  <a:lnTo>
                    <a:pt x="652" y="1193"/>
                  </a:lnTo>
                  <a:lnTo>
                    <a:pt x="630" y="1236"/>
                  </a:lnTo>
                  <a:lnTo>
                    <a:pt x="613" y="1277"/>
                  </a:lnTo>
                  <a:lnTo>
                    <a:pt x="599" y="1315"/>
                  </a:lnTo>
                  <a:lnTo>
                    <a:pt x="587" y="1351"/>
                  </a:lnTo>
                  <a:lnTo>
                    <a:pt x="581" y="1385"/>
                  </a:lnTo>
                  <a:lnTo>
                    <a:pt x="579" y="1415"/>
                  </a:lnTo>
                  <a:lnTo>
                    <a:pt x="580" y="1435"/>
                  </a:lnTo>
                  <a:lnTo>
                    <a:pt x="586" y="1451"/>
                  </a:lnTo>
                  <a:lnTo>
                    <a:pt x="594" y="1464"/>
                  </a:lnTo>
                  <a:lnTo>
                    <a:pt x="604" y="1474"/>
                  </a:lnTo>
                  <a:lnTo>
                    <a:pt x="615" y="1481"/>
                  </a:lnTo>
                  <a:lnTo>
                    <a:pt x="627" y="1487"/>
                  </a:lnTo>
                  <a:lnTo>
                    <a:pt x="639" y="1491"/>
                  </a:lnTo>
                  <a:lnTo>
                    <a:pt x="652" y="1493"/>
                  </a:lnTo>
                  <a:lnTo>
                    <a:pt x="663" y="1495"/>
                  </a:lnTo>
                  <a:lnTo>
                    <a:pt x="672" y="1495"/>
                  </a:lnTo>
                  <a:lnTo>
                    <a:pt x="679" y="1495"/>
                  </a:lnTo>
                  <a:lnTo>
                    <a:pt x="708" y="1495"/>
                  </a:lnTo>
                  <a:lnTo>
                    <a:pt x="738" y="1495"/>
                  </a:lnTo>
                  <a:lnTo>
                    <a:pt x="770" y="1496"/>
                  </a:lnTo>
                  <a:lnTo>
                    <a:pt x="804" y="1497"/>
                  </a:lnTo>
                  <a:lnTo>
                    <a:pt x="838" y="1498"/>
                  </a:lnTo>
                  <a:lnTo>
                    <a:pt x="873" y="1500"/>
                  </a:lnTo>
                  <a:lnTo>
                    <a:pt x="910" y="1503"/>
                  </a:lnTo>
                  <a:lnTo>
                    <a:pt x="946" y="1507"/>
                  </a:lnTo>
                  <a:lnTo>
                    <a:pt x="983" y="1512"/>
                  </a:lnTo>
                  <a:lnTo>
                    <a:pt x="1020" y="1518"/>
                  </a:lnTo>
                  <a:lnTo>
                    <a:pt x="1058" y="1526"/>
                  </a:lnTo>
                  <a:lnTo>
                    <a:pt x="1094" y="1535"/>
                  </a:lnTo>
                  <a:lnTo>
                    <a:pt x="1131" y="1547"/>
                  </a:lnTo>
                  <a:lnTo>
                    <a:pt x="1167" y="1560"/>
                  </a:lnTo>
                  <a:lnTo>
                    <a:pt x="1202" y="1574"/>
                  </a:lnTo>
                  <a:lnTo>
                    <a:pt x="1237" y="1591"/>
                  </a:lnTo>
                  <a:lnTo>
                    <a:pt x="1271" y="1611"/>
                  </a:lnTo>
                  <a:lnTo>
                    <a:pt x="1302" y="1632"/>
                  </a:lnTo>
                  <a:lnTo>
                    <a:pt x="1333" y="1657"/>
                  </a:lnTo>
                  <a:lnTo>
                    <a:pt x="1362" y="1684"/>
                  </a:lnTo>
                  <a:lnTo>
                    <a:pt x="1389" y="1714"/>
                  </a:lnTo>
                  <a:lnTo>
                    <a:pt x="1414" y="1746"/>
                  </a:lnTo>
                  <a:lnTo>
                    <a:pt x="1436" y="1782"/>
                  </a:lnTo>
                  <a:lnTo>
                    <a:pt x="1456" y="1822"/>
                  </a:lnTo>
                  <a:lnTo>
                    <a:pt x="1474" y="1863"/>
                  </a:lnTo>
                  <a:lnTo>
                    <a:pt x="1489" y="1910"/>
                  </a:lnTo>
                  <a:lnTo>
                    <a:pt x="1501" y="1959"/>
                  </a:lnTo>
                  <a:lnTo>
                    <a:pt x="1509" y="2013"/>
                  </a:lnTo>
                  <a:lnTo>
                    <a:pt x="1515" y="2071"/>
                  </a:lnTo>
                  <a:lnTo>
                    <a:pt x="1517" y="2132"/>
                  </a:lnTo>
                  <a:lnTo>
                    <a:pt x="1515" y="2180"/>
                  </a:lnTo>
                  <a:lnTo>
                    <a:pt x="1508" y="2229"/>
                  </a:lnTo>
                  <a:lnTo>
                    <a:pt x="1497" y="2279"/>
                  </a:lnTo>
                  <a:lnTo>
                    <a:pt x="1482" y="2328"/>
                  </a:lnTo>
                  <a:lnTo>
                    <a:pt x="1463" y="2376"/>
                  </a:lnTo>
                  <a:lnTo>
                    <a:pt x="1440" y="2424"/>
                  </a:lnTo>
                  <a:lnTo>
                    <a:pt x="1413" y="2470"/>
                  </a:lnTo>
                  <a:lnTo>
                    <a:pt x="1382" y="2515"/>
                  </a:lnTo>
                  <a:lnTo>
                    <a:pt x="1347" y="2559"/>
                  </a:lnTo>
                  <a:lnTo>
                    <a:pt x="1310" y="2601"/>
                  </a:lnTo>
                  <a:lnTo>
                    <a:pt x="1269" y="2640"/>
                  </a:lnTo>
                  <a:lnTo>
                    <a:pt x="1224" y="2676"/>
                  </a:lnTo>
                  <a:lnTo>
                    <a:pt x="1176" y="2710"/>
                  </a:lnTo>
                  <a:lnTo>
                    <a:pt x="1125" y="2739"/>
                  </a:lnTo>
                  <a:lnTo>
                    <a:pt x="1071" y="2766"/>
                  </a:lnTo>
                  <a:lnTo>
                    <a:pt x="1014" y="2788"/>
                  </a:lnTo>
                  <a:lnTo>
                    <a:pt x="954" y="2806"/>
                  </a:lnTo>
                  <a:lnTo>
                    <a:pt x="891" y="2819"/>
                  </a:lnTo>
                  <a:lnTo>
                    <a:pt x="826" y="2827"/>
                  </a:lnTo>
                  <a:lnTo>
                    <a:pt x="759" y="2830"/>
                  </a:lnTo>
                  <a:lnTo>
                    <a:pt x="692" y="2828"/>
                  </a:lnTo>
                  <a:lnTo>
                    <a:pt x="629" y="2821"/>
                  </a:lnTo>
                  <a:lnTo>
                    <a:pt x="570" y="2809"/>
                  </a:lnTo>
                  <a:lnTo>
                    <a:pt x="513" y="2793"/>
                  </a:lnTo>
                  <a:lnTo>
                    <a:pt x="459" y="2773"/>
                  </a:lnTo>
                  <a:lnTo>
                    <a:pt x="409" y="2750"/>
                  </a:lnTo>
                  <a:lnTo>
                    <a:pt x="361" y="2723"/>
                  </a:lnTo>
                  <a:lnTo>
                    <a:pt x="317" y="2692"/>
                  </a:lnTo>
                  <a:lnTo>
                    <a:pt x="275" y="2660"/>
                  </a:lnTo>
                  <a:lnTo>
                    <a:pt x="237" y="2624"/>
                  </a:lnTo>
                  <a:lnTo>
                    <a:pt x="202" y="2586"/>
                  </a:lnTo>
                  <a:lnTo>
                    <a:pt x="169" y="2546"/>
                  </a:lnTo>
                  <a:lnTo>
                    <a:pt x="140" y="2503"/>
                  </a:lnTo>
                  <a:lnTo>
                    <a:pt x="112" y="2459"/>
                  </a:lnTo>
                  <a:lnTo>
                    <a:pt x="89" y="2414"/>
                  </a:lnTo>
                  <a:lnTo>
                    <a:pt x="68" y="2368"/>
                  </a:lnTo>
                  <a:lnTo>
                    <a:pt x="50" y="2321"/>
                  </a:lnTo>
                  <a:lnTo>
                    <a:pt x="35" y="2273"/>
                  </a:lnTo>
                  <a:lnTo>
                    <a:pt x="22" y="2224"/>
                  </a:lnTo>
                  <a:lnTo>
                    <a:pt x="12" y="2176"/>
                  </a:lnTo>
                  <a:lnTo>
                    <a:pt x="6" y="2128"/>
                  </a:lnTo>
                  <a:lnTo>
                    <a:pt x="2" y="2080"/>
                  </a:lnTo>
                  <a:lnTo>
                    <a:pt x="0" y="2032"/>
                  </a:lnTo>
                  <a:lnTo>
                    <a:pt x="1" y="1980"/>
                  </a:lnTo>
                  <a:lnTo>
                    <a:pt x="5" y="1929"/>
                  </a:lnTo>
                  <a:lnTo>
                    <a:pt x="10" y="1876"/>
                  </a:lnTo>
                  <a:lnTo>
                    <a:pt x="18" y="1822"/>
                  </a:lnTo>
                  <a:lnTo>
                    <a:pt x="29" y="1767"/>
                  </a:lnTo>
                  <a:lnTo>
                    <a:pt x="43" y="1711"/>
                  </a:lnTo>
                  <a:lnTo>
                    <a:pt x="58" y="1654"/>
                  </a:lnTo>
                  <a:lnTo>
                    <a:pt x="77" y="1595"/>
                  </a:lnTo>
                  <a:lnTo>
                    <a:pt x="99" y="1536"/>
                  </a:lnTo>
                  <a:lnTo>
                    <a:pt x="124" y="1476"/>
                  </a:lnTo>
                  <a:lnTo>
                    <a:pt x="152" y="1415"/>
                  </a:lnTo>
                  <a:lnTo>
                    <a:pt x="183" y="1352"/>
                  </a:lnTo>
                  <a:lnTo>
                    <a:pt x="218" y="1288"/>
                  </a:lnTo>
                  <a:lnTo>
                    <a:pt x="257" y="1222"/>
                  </a:lnTo>
                  <a:lnTo>
                    <a:pt x="299" y="1154"/>
                  </a:lnTo>
                  <a:lnTo>
                    <a:pt x="344" y="1085"/>
                  </a:lnTo>
                  <a:lnTo>
                    <a:pt x="394" y="1014"/>
                  </a:lnTo>
                  <a:lnTo>
                    <a:pt x="447" y="942"/>
                  </a:lnTo>
                  <a:lnTo>
                    <a:pt x="504" y="866"/>
                  </a:lnTo>
                  <a:lnTo>
                    <a:pt x="565" y="790"/>
                  </a:lnTo>
                  <a:lnTo>
                    <a:pt x="630" y="711"/>
                  </a:lnTo>
                  <a:lnTo>
                    <a:pt x="700" y="631"/>
                  </a:lnTo>
                  <a:lnTo>
                    <a:pt x="774" y="547"/>
                  </a:lnTo>
                  <a:lnTo>
                    <a:pt x="853" y="463"/>
                  </a:lnTo>
                  <a:lnTo>
                    <a:pt x="936" y="375"/>
                  </a:lnTo>
                  <a:lnTo>
                    <a:pt x="1024" y="285"/>
                  </a:lnTo>
                  <a:lnTo>
                    <a:pt x="1117" y="193"/>
                  </a:lnTo>
                  <a:lnTo>
                    <a:pt x="1215" y="97"/>
                  </a:lnTo>
                  <a:lnTo>
                    <a:pt x="1318" y="0"/>
                  </a:lnTo>
                  <a:close/>
                </a:path>
              </a:pathLst>
            </a:custGeom>
            <a:grpFill/>
            <a:ln w="0">
              <a:noFill/>
              <a:prstDash val="solid"/>
              <a:round/>
              <a:headEnd/>
              <a:tailEnd/>
            </a:ln>
          </p:spPr>
          <p:txBody>
            <a:bodyPr vert="horz" wrap="square" lIns="130629" tIns="65314" rIns="130629" bIns="653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8" name="Freeform 83">
              <a:extLst>
                <a:ext uri="{FF2B5EF4-FFF2-40B4-BE49-F238E27FC236}">
                  <a16:creationId xmlns:a16="http://schemas.microsoft.com/office/drawing/2014/main" id="{1F6236CC-ECA7-463F-92E8-6DF410F0282E}"/>
                </a:ext>
              </a:extLst>
            </p:cNvPr>
            <p:cNvSpPr>
              <a:spLocks/>
            </p:cNvSpPr>
            <p:nvPr/>
          </p:nvSpPr>
          <p:spPr bwMode="gray">
            <a:xfrm>
              <a:off x="875323" y="2298542"/>
              <a:ext cx="141288" cy="263525"/>
            </a:xfrm>
            <a:custGeom>
              <a:avLst/>
              <a:gdLst>
                <a:gd name="T0" fmla="*/ 1471 w 1517"/>
                <a:gd name="T1" fmla="*/ 165 h 2830"/>
                <a:gd name="T2" fmla="*/ 1374 w 1517"/>
                <a:gd name="T3" fmla="*/ 265 h 2830"/>
                <a:gd name="T4" fmla="*/ 1256 w 1517"/>
                <a:gd name="T5" fmla="*/ 394 h 2830"/>
                <a:gd name="T6" fmla="*/ 1125 w 1517"/>
                <a:gd name="T7" fmla="*/ 540 h 2830"/>
                <a:gd name="T8" fmla="*/ 993 w 1517"/>
                <a:gd name="T9" fmla="*/ 700 h 2830"/>
                <a:gd name="T10" fmla="*/ 871 w 1517"/>
                <a:gd name="T11" fmla="*/ 864 h 2830"/>
                <a:gd name="T12" fmla="*/ 767 w 1517"/>
                <a:gd name="T13" fmla="*/ 1025 h 2830"/>
                <a:gd name="T14" fmla="*/ 689 w 1517"/>
                <a:gd name="T15" fmla="*/ 1158 h 2830"/>
                <a:gd name="T16" fmla="*/ 634 w 1517"/>
                <a:gd name="T17" fmla="*/ 1253 h 2830"/>
                <a:gd name="T18" fmla="*/ 603 w 1517"/>
                <a:gd name="T19" fmla="*/ 1319 h 2830"/>
                <a:gd name="T20" fmla="*/ 585 w 1517"/>
                <a:gd name="T21" fmla="*/ 1363 h 2830"/>
                <a:gd name="T22" fmla="*/ 579 w 1517"/>
                <a:gd name="T23" fmla="*/ 1393 h 2830"/>
                <a:gd name="T24" fmla="*/ 578 w 1517"/>
                <a:gd name="T25" fmla="*/ 1415 h 2830"/>
                <a:gd name="T26" fmla="*/ 591 w 1517"/>
                <a:gd name="T27" fmla="*/ 1464 h 2830"/>
                <a:gd name="T28" fmla="*/ 619 w 1517"/>
                <a:gd name="T29" fmla="*/ 1487 h 2830"/>
                <a:gd name="T30" fmla="*/ 655 w 1517"/>
                <a:gd name="T31" fmla="*/ 1495 h 2830"/>
                <a:gd name="T32" fmla="*/ 708 w 1517"/>
                <a:gd name="T33" fmla="*/ 1495 h 2830"/>
                <a:gd name="T34" fmla="*/ 804 w 1517"/>
                <a:gd name="T35" fmla="*/ 1497 h 2830"/>
                <a:gd name="T36" fmla="*/ 909 w 1517"/>
                <a:gd name="T37" fmla="*/ 1503 h 2830"/>
                <a:gd name="T38" fmla="*/ 1020 w 1517"/>
                <a:gd name="T39" fmla="*/ 1518 h 2830"/>
                <a:gd name="T40" fmla="*/ 1131 w 1517"/>
                <a:gd name="T41" fmla="*/ 1547 h 2830"/>
                <a:gd name="T42" fmla="*/ 1237 w 1517"/>
                <a:gd name="T43" fmla="*/ 1591 h 2830"/>
                <a:gd name="T44" fmla="*/ 1333 w 1517"/>
                <a:gd name="T45" fmla="*/ 1657 h 2830"/>
                <a:gd name="T46" fmla="*/ 1414 w 1517"/>
                <a:gd name="T47" fmla="*/ 1746 h 2830"/>
                <a:gd name="T48" fmla="*/ 1474 w 1517"/>
                <a:gd name="T49" fmla="*/ 1863 h 2830"/>
                <a:gd name="T50" fmla="*/ 1510 w 1517"/>
                <a:gd name="T51" fmla="*/ 2013 h 2830"/>
                <a:gd name="T52" fmla="*/ 1515 w 1517"/>
                <a:gd name="T53" fmla="*/ 2180 h 2830"/>
                <a:gd name="T54" fmla="*/ 1482 w 1517"/>
                <a:gd name="T55" fmla="*/ 2328 h 2830"/>
                <a:gd name="T56" fmla="*/ 1413 w 1517"/>
                <a:gd name="T57" fmla="*/ 2470 h 2830"/>
                <a:gd name="T58" fmla="*/ 1310 w 1517"/>
                <a:gd name="T59" fmla="*/ 2601 h 2830"/>
                <a:gd name="T60" fmla="*/ 1176 w 1517"/>
                <a:gd name="T61" fmla="*/ 2710 h 2830"/>
                <a:gd name="T62" fmla="*/ 1014 w 1517"/>
                <a:gd name="T63" fmla="*/ 2788 h 2830"/>
                <a:gd name="T64" fmla="*/ 826 w 1517"/>
                <a:gd name="T65" fmla="*/ 2827 h 2830"/>
                <a:gd name="T66" fmla="*/ 629 w 1517"/>
                <a:gd name="T67" fmla="*/ 2821 h 2830"/>
                <a:gd name="T68" fmla="*/ 459 w 1517"/>
                <a:gd name="T69" fmla="*/ 2773 h 2830"/>
                <a:gd name="T70" fmla="*/ 316 w 1517"/>
                <a:gd name="T71" fmla="*/ 2692 h 2830"/>
                <a:gd name="T72" fmla="*/ 201 w 1517"/>
                <a:gd name="T73" fmla="*/ 2586 h 2830"/>
                <a:gd name="T74" fmla="*/ 112 w 1517"/>
                <a:gd name="T75" fmla="*/ 2459 h 2830"/>
                <a:gd name="T76" fmla="*/ 50 w 1517"/>
                <a:gd name="T77" fmla="*/ 2321 h 2830"/>
                <a:gd name="T78" fmla="*/ 12 w 1517"/>
                <a:gd name="T79" fmla="*/ 2176 h 2830"/>
                <a:gd name="T80" fmla="*/ 0 w 1517"/>
                <a:gd name="T81" fmla="*/ 2032 h 2830"/>
                <a:gd name="T82" fmla="*/ 10 w 1517"/>
                <a:gd name="T83" fmla="*/ 1876 h 2830"/>
                <a:gd name="T84" fmla="*/ 42 w 1517"/>
                <a:gd name="T85" fmla="*/ 1711 h 2830"/>
                <a:gd name="T86" fmla="*/ 99 w 1517"/>
                <a:gd name="T87" fmla="*/ 1536 h 2830"/>
                <a:gd name="T88" fmla="*/ 184 w 1517"/>
                <a:gd name="T89" fmla="*/ 1352 h 2830"/>
                <a:gd name="T90" fmla="*/ 298 w 1517"/>
                <a:gd name="T91" fmla="*/ 1154 h 2830"/>
                <a:gd name="T92" fmla="*/ 446 w 1517"/>
                <a:gd name="T93" fmla="*/ 942 h 2830"/>
                <a:gd name="T94" fmla="*/ 630 w 1517"/>
                <a:gd name="T95" fmla="*/ 711 h 2830"/>
                <a:gd name="T96" fmla="*/ 853 w 1517"/>
                <a:gd name="T97" fmla="*/ 463 h 2830"/>
                <a:gd name="T98" fmla="*/ 1117 w 1517"/>
                <a:gd name="T99" fmla="*/ 19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7" h="2830">
                  <a:moveTo>
                    <a:pt x="1317" y="0"/>
                  </a:moveTo>
                  <a:lnTo>
                    <a:pt x="1496" y="139"/>
                  </a:lnTo>
                  <a:lnTo>
                    <a:pt x="1471" y="165"/>
                  </a:lnTo>
                  <a:lnTo>
                    <a:pt x="1441" y="195"/>
                  </a:lnTo>
                  <a:lnTo>
                    <a:pt x="1409" y="229"/>
                  </a:lnTo>
                  <a:lnTo>
                    <a:pt x="1374" y="265"/>
                  </a:lnTo>
                  <a:lnTo>
                    <a:pt x="1336" y="305"/>
                  </a:lnTo>
                  <a:lnTo>
                    <a:pt x="1296" y="348"/>
                  </a:lnTo>
                  <a:lnTo>
                    <a:pt x="1256" y="394"/>
                  </a:lnTo>
                  <a:lnTo>
                    <a:pt x="1213" y="440"/>
                  </a:lnTo>
                  <a:lnTo>
                    <a:pt x="1169" y="489"/>
                  </a:lnTo>
                  <a:lnTo>
                    <a:pt x="1125" y="540"/>
                  </a:lnTo>
                  <a:lnTo>
                    <a:pt x="1081" y="593"/>
                  </a:lnTo>
                  <a:lnTo>
                    <a:pt x="1037" y="646"/>
                  </a:lnTo>
                  <a:lnTo>
                    <a:pt x="993" y="700"/>
                  </a:lnTo>
                  <a:lnTo>
                    <a:pt x="952" y="754"/>
                  </a:lnTo>
                  <a:lnTo>
                    <a:pt x="910" y="809"/>
                  </a:lnTo>
                  <a:lnTo>
                    <a:pt x="871" y="864"/>
                  </a:lnTo>
                  <a:lnTo>
                    <a:pt x="833" y="918"/>
                  </a:lnTo>
                  <a:lnTo>
                    <a:pt x="799" y="972"/>
                  </a:lnTo>
                  <a:lnTo>
                    <a:pt x="767" y="1025"/>
                  </a:lnTo>
                  <a:lnTo>
                    <a:pt x="738" y="1076"/>
                  </a:lnTo>
                  <a:lnTo>
                    <a:pt x="712" y="1120"/>
                  </a:lnTo>
                  <a:lnTo>
                    <a:pt x="689" y="1158"/>
                  </a:lnTo>
                  <a:lnTo>
                    <a:pt x="668" y="1194"/>
                  </a:lnTo>
                  <a:lnTo>
                    <a:pt x="650" y="1226"/>
                  </a:lnTo>
                  <a:lnTo>
                    <a:pt x="634" y="1253"/>
                  </a:lnTo>
                  <a:lnTo>
                    <a:pt x="622" y="1279"/>
                  </a:lnTo>
                  <a:lnTo>
                    <a:pt x="611" y="1300"/>
                  </a:lnTo>
                  <a:lnTo>
                    <a:pt x="603" y="1319"/>
                  </a:lnTo>
                  <a:lnTo>
                    <a:pt x="596" y="1336"/>
                  </a:lnTo>
                  <a:lnTo>
                    <a:pt x="590" y="1350"/>
                  </a:lnTo>
                  <a:lnTo>
                    <a:pt x="585" y="1363"/>
                  </a:lnTo>
                  <a:lnTo>
                    <a:pt x="582" y="1374"/>
                  </a:lnTo>
                  <a:lnTo>
                    <a:pt x="580" y="1384"/>
                  </a:lnTo>
                  <a:lnTo>
                    <a:pt x="579" y="1393"/>
                  </a:lnTo>
                  <a:lnTo>
                    <a:pt x="579" y="1401"/>
                  </a:lnTo>
                  <a:lnTo>
                    <a:pt x="578" y="1408"/>
                  </a:lnTo>
                  <a:lnTo>
                    <a:pt x="578" y="1415"/>
                  </a:lnTo>
                  <a:lnTo>
                    <a:pt x="580" y="1435"/>
                  </a:lnTo>
                  <a:lnTo>
                    <a:pt x="584" y="1451"/>
                  </a:lnTo>
                  <a:lnTo>
                    <a:pt x="591" y="1464"/>
                  </a:lnTo>
                  <a:lnTo>
                    <a:pt x="599" y="1474"/>
                  </a:lnTo>
                  <a:lnTo>
                    <a:pt x="608" y="1481"/>
                  </a:lnTo>
                  <a:lnTo>
                    <a:pt x="619" y="1487"/>
                  </a:lnTo>
                  <a:lnTo>
                    <a:pt x="631" y="1491"/>
                  </a:lnTo>
                  <a:lnTo>
                    <a:pt x="643" y="1493"/>
                  </a:lnTo>
                  <a:lnTo>
                    <a:pt x="655" y="1495"/>
                  </a:lnTo>
                  <a:lnTo>
                    <a:pt x="667" y="1495"/>
                  </a:lnTo>
                  <a:lnTo>
                    <a:pt x="678" y="1495"/>
                  </a:lnTo>
                  <a:lnTo>
                    <a:pt x="708" y="1495"/>
                  </a:lnTo>
                  <a:lnTo>
                    <a:pt x="737" y="1495"/>
                  </a:lnTo>
                  <a:lnTo>
                    <a:pt x="770" y="1496"/>
                  </a:lnTo>
                  <a:lnTo>
                    <a:pt x="804" y="1497"/>
                  </a:lnTo>
                  <a:lnTo>
                    <a:pt x="837" y="1498"/>
                  </a:lnTo>
                  <a:lnTo>
                    <a:pt x="873" y="1500"/>
                  </a:lnTo>
                  <a:lnTo>
                    <a:pt x="909" y="1503"/>
                  </a:lnTo>
                  <a:lnTo>
                    <a:pt x="946" y="1507"/>
                  </a:lnTo>
                  <a:lnTo>
                    <a:pt x="983" y="1512"/>
                  </a:lnTo>
                  <a:lnTo>
                    <a:pt x="1020" y="1518"/>
                  </a:lnTo>
                  <a:lnTo>
                    <a:pt x="1058" y="1526"/>
                  </a:lnTo>
                  <a:lnTo>
                    <a:pt x="1094" y="1535"/>
                  </a:lnTo>
                  <a:lnTo>
                    <a:pt x="1131" y="1547"/>
                  </a:lnTo>
                  <a:lnTo>
                    <a:pt x="1167" y="1560"/>
                  </a:lnTo>
                  <a:lnTo>
                    <a:pt x="1203" y="1574"/>
                  </a:lnTo>
                  <a:lnTo>
                    <a:pt x="1237" y="1591"/>
                  </a:lnTo>
                  <a:lnTo>
                    <a:pt x="1270" y="1611"/>
                  </a:lnTo>
                  <a:lnTo>
                    <a:pt x="1303" y="1632"/>
                  </a:lnTo>
                  <a:lnTo>
                    <a:pt x="1333" y="1657"/>
                  </a:lnTo>
                  <a:lnTo>
                    <a:pt x="1362" y="1684"/>
                  </a:lnTo>
                  <a:lnTo>
                    <a:pt x="1388" y="1714"/>
                  </a:lnTo>
                  <a:lnTo>
                    <a:pt x="1414" y="1746"/>
                  </a:lnTo>
                  <a:lnTo>
                    <a:pt x="1436" y="1782"/>
                  </a:lnTo>
                  <a:lnTo>
                    <a:pt x="1457" y="1822"/>
                  </a:lnTo>
                  <a:lnTo>
                    <a:pt x="1474" y="1863"/>
                  </a:lnTo>
                  <a:lnTo>
                    <a:pt x="1489" y="1910"/>
                  </a:lnTo>
                  <a:lnTo>
                    <a:pt x="1500" y="1959"/>
                  </a:lnTo>
                  <a:lnTo>
                    <a:pt x="1510" y="2013"/>
                  </a:lnTo>
                  <a:lnTo>
                    <a:pt x="1515" y="2071"/>
                  </a:lnTo>
                  <a:lnTo>
                    <a:pt x="1517" y="2132"/>
                  </a:lnTo>
                  <a:lnTo>
                    <a:pt x="1515" y="2180"/>
                  </a:lnTo>
                  <a:lnTo>
                    <a:pt x="1508" y="2229"/>
                  </a:lnTo>
                  <a:lnTo>
                    <a:pt x="1497" y="2279"/>
                  </a:lnTo>
                  <a:lnTo>
                    <a:pt x="1482" y="2328"/>
                  </a:lnTo>
                  <a:lnTo>
                    <a:pt x="1463" y="2376"/>
                  </a:lnTo>
                  <a:lnTo>
                    <a:pt x="1439" y="2424"/>
                  </a:lnTo>
                  <a:lnTo>
                    <a:pt x="1413" y="2470"/>
                  </a:lnTo>
                  <a:lnTo>
                    <a:pt x="1382" y="2515"/>
                  </a:lnTo>
                  <a:lnTo>
                    <a:pt x="1347" y="2559"/>
                  </a:lnTo>
                  <a:lnTo>
                    <a:pt x="1310" y="2601"/>
                  </a:lnTo>
                  <a:lnTo>
                    <a:pt x="1268" y="2640"/>
                  </a:lnTo>
                  <a:lnTo>
                    <a:pt x="1224" y="2676"/>
                  </a:lnTo>
                  <a:lnTo>
                    <a:pt x="1176" y="2710"/>
                  </a:lnTo>
                  <a:lnTo>
                    <a:pt x="1125" y="2739"/>
                  </a:lnTo>
                  <a:lnTo>
                    <a:pt x="1070" y="2766"/>
                  </a:lnTo>
                  <a:lnTo>
                    <a:pt x="1014" y="2788"/>
                  </a:lnTo>
                  <a:lnTo>
                    <a:pt x="954" y="2806"/>
                  </a:lnTo>
                  <a:lnTo>
                    <a:pt x="891" y="2819"/>
                  </a:lnTo>
                  <a:lnTo>
                    <a:pt x="826" y="2827"/>
                  </a:lnTo>
                  <a:lnTo>
                    <a:pt x="758" y="2830"/>
                  </a:lnTo>
                  <a:lnTo>
                    <a:pt x="693" y="2828"/>
                  </a:lnTo>
                  <a:lnTo>
                    <a:pt x="629" y="2821"/>
                  </a:lnTo>
                  <a:lnTo>
                    <a:pt x="569" y="2809"/>
                  </a:lnTo>
                  <a:lnTo>
                    <a:pt x="513" y="2793"/>
                  </a:lnTo>
                  <a:lnTo>
                    <a:pt x="459" y="2773"/>
                  </a:lnTo>
                  <a:lnTo>
                    <a:pt x="409" y="2750"/>
                  </a:lnTo>
                  <a:lnTo>
                    <a:pt x="361" y="2723"/>
                  </a:lnTo>
                  <a:lnTo>
                    <a:pt x="316" y="2692"/>
                  </a:lnTo>
                  <a:lnTo>
                    <a:pt x="275" y="2660"/>
                  </a:lnTo>
                  <a:lnTo>
                    <a:pt x="237" y="2624"/>
                  </a:lnTo>
                  <a:lnTo>
                    <a:pt x="201" y="2586"/>
                  </a:lnTo>
                  <a:lnTo>
                    <a:pt x="168" y="2546"/>
                  </a:lnTo>
                  <a:lnTo>
                    <a:pt x="139" y="2503"/>
                  </a:lnTo>
                  <a:lnTo>
                    <a:pt x="112" y="2459"/>
                  </a:lnTo>
                  <a:lnTo>
                    <a:pt x="89" y="2414"/>
                  </a:lnTo>
                  <a:lnTo>
                    <a:pt x="67" y="2368"/>
                  </a:lnTo>
                  <a:lnTo>
                    <a:pt x="50" y="2321"/>
                  </a:lnTo>
                  <a:lnTo>
                    <a:pt x="35" y="2273"/>
                  </a:lnTo>
                  <a:lnTo>
                    <a:pt x="22" y="2224"/>
                  </a:lnTo>
                  <a:lnTo>
                    <a:pt x="12" y="2176"/>
                  </a:lnTo>
                  <a:lnTo>
                    <a:pt x="5" y="2128"/>
                  </a:lnTo>
                  <a:lnTo>
                    <a:pt x="1" y="2080"/>
                  </a:lnTo>
                  <a:lnTo>
                    <a:pt x="0" y="2032"/>
                  </a:lnTo>
                  <a:lnTo>
                    <a:pt x="1" y="1980"/>
                  </a:lnTo>
                  <a:lnTo>
                    <a:pt x="4" y="1929"/>
                  </a:lnTo>
                  <a:lnTo>
                    <a:pt x="10" y="1876"/>
                  </a:lnTo>
                  <a:lnTo>
                    <a:pt x="18" y="1822"/>
                  </a:lnTo>
                  <a:lnTo>
                    <a:pt x="29" y="1767"/>
                  </a:lnTo>
                  <a:lnTo>
                    <a:pt x="42" y="1711"/>
                  </a:lnTo>
                  <a:lnTo>
                    <a:pt x="58" y="1654"/>
                  </a:lnTo>
                  <a:lnTo>
                    <a:pt x="78" y="1595"/>
                  </a:lnTo>
                  <a:lnTo>
                    <a:pt x="99" y="1536"/>
                  </a:lnTo>
                  <a:lnTo>
                    <a:pt x="124" y="1476"/>
                  </a:lnTo>
                  <a:lnTo>
                    <a:pt x="152" y="1415"/>
                  </a:lnTo>
                  <a:lnTo>
                    <a:pt x="184" y="1352"/>
                  </a:lnTo>
                  <a:lnTo>
                    <a:pt x="218" y="1288"/>
                  </a:lnTo>
                  <a:lnTo>
                    <a:pt x="256" y="1222"/>
                  </a:lnTo>
                  <a:lnTo>
                    <a:pt x="298" y="1154"/>
                  </a:lnTo>
                  <a:lnTo>
                    <a:pt x="344" y="1085"/>
                  </a:lnTo>
                  <a:lnTo>
                    <a:pt x="393" y="1014"/>
                  </a:lnTo>
                  <a:lnTo>
                    <a:pt x="446" y="942"/>
                  </a:lnTo>
                  <a:lnTo>
                    <a:pt x="503" y="866"/>
                  </a:lnTo>
                  <a:lnTo>
                    <a:pt x="565" y="790"/>
                  </a:lnTo>
                  <a:lnTo>
                    <a:pt x="630" y="711"/>
                  </a:lnTo>
                  <a:lnTo>
                    <a:pt x="700" y="631"/>
                  </a:lnTo>
                  <a:lnTo>
                    <a:pt x="774" y="547"/>
                  </a:lnTo>
                  <a:lnTo>
                    <a:pt x="853" y="463"/>
                  </a:lnTo>
                  <a:lnTo>
                    <a:pt x="936" y="375"/>
                  </a:lnTo>
                  <a:lnTo>
                    <a:pt x="1024" y="285"/>
                  </a:lnTo>
                  <a:lnTo>
                    <a:pt x="1117" y="193"/>
                  </a:lnTo>
                  <a:lnTo>
                    <a:pt x="1215" y="97"/>
                  </a:lnTo>
                  <a:lnTo>
                    <a:pt x="1317" y="0"/>
                  </a:lnTo>
                  <a:close/>
                </a:path>
              </a:pathLst>
            </a:custGeom>
            <a:grpFill/>
            <a:ln w="0">
              <a:noFill/>
              <a:prstDash val="solid"/>
              <a:round/>
              <a:headEnd/>
              <a:tailEnd/>
            </a:ln>
          </p:spPr>
          <p:txBody>
            <a:bodyPr vert="horz" wrap="square" lIns="130629" tIns="65314" rIns="130629" bIns="653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5" name="TextBox 4">
            <a:extLst>
              <a:ext uri="{FF2B5EF4-FFF2-40B4-BE49-F238E27FC236}">
                <a16:creationId xmlns:a16="http://schemas.microsoft.com/office/drawing/2014/main" id="{AD299652-9AEF-401E-B422-8D1099C18F82}"/>
              </a:ext>
            </a:extLst>
          </p:cNvPr>
          <p:cNvSpPr txBox="1"/>
          <p:nvPr/>
        </p:nvSpPr>
        <p:spPr bwMode="gray">
          <a:xfrm>
            <a:off x="898831" y="2606303"/>
            <a:ext cx="4859684" cy="1846659"/>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Digital literacies and internet connectivity have been called </a:t>
            </a:r>
            <a:b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b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a:t>
            </a:r>
            <a:r>
              <a:rPr kumimoji="0" lang="en-US" sz="2400" b="1" i="0" u="none" strike="noStrike" kern="1200" cap="none" spc="0" normalizeH="0" baseline="0" noProof="0">
                <a:ln>
                  <a:noFill/>
                </a:ln>
                <a:solidFill>
                  <a:srgbClr val="323E48"/>
                </a:solidFill>
                <a:effectLst/>
                <a:uLnTx/>
                <a:uFillTx/>
                <a:latin typeface="Times New Roman" panose="02020603050405020304"/>
                <a:ea typeface="+mn-ea"/>
                <a:cs typeface="+mn-cs"/>
              </a:rPr>
              <a:t>super social determinants of health</a:t>
            </a: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 because they address all other social determinants of health.</a:t>
            </a:r>
          </a:p>
        </p:txBody>
      </p:sp>
      <p:sp>
        <p:nvSpPr>
          <p:cNvPr id="29" name="TextBox 28">
            <a:extLst>
              <a:ext uri="{FF2B5EF4-FFF2-40B4-BE49-F238E27FC236}">
                <a16:creationId xmlns:a16="http://schemas.microsoft.com/office/drawing/2014/main" id="{3D1C25BE-FFA3-44D3-BD8A-149FD124004B}"/>
              </a:ext>
            </a:extLst>
          </p:cNvPr>
          <p:cNvSpPr txBox="1"/>
          <p:nvPr/>
        </p:nvSpPr>
        <p:spPr bwMode="gray">
          <a:xfrm>
            <a:off x="4138060" y="4452962"/>
            <a:ext cx="1620455" cy="230832"/>
          </a:xfrm>
          <a:prstGeom prst="rect">
            <a:avLst/>
          </a:prstGeom>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
                <a:srgbClr val="CE0E2D"/>
              </a:buClr>
              <a:buSzTx/>
              <a:buFontTx/>
              <a:buNone/>
              <a:tabLst/>
              <a:defRPr/>
            </a:pPr>
            <a:r>
              <a:rPr kumimoji="0" lang="en-US" sz="1500" b="0" i="1" u="none" strike="noStrike" kern="1200" cap="none" spc="0" normalizeH="0" baseline="0" noProof="0">
                <a:ln>
                  <a:noFill/>
                </a:ln>
                <a:solidFill>
                  <a:srgbClr val="323E48"/>
                </a:solidFill>
                <a:effectLst/>
                <a:uLnTx/>
                <a:uFillTx/>
                <a:latin typeface="Arial" panose="020B0604020202020204"/>
                <a:ea typeface="+mn-ea"/>
                <a:cs typeface="+mn-cs"/>
              </a:rPr>
              <a:t>Nature</a:t>
            </a:r>
          </a:p>
        </p:txBody>
      </p:sp>
    </p:spTree>
    <p:extLst>
      <p:ext uri="{BB962C8B-B14F-4D97-AF65-F5344CB8AC3E}">
        <p14:creationId xmlns:p14="http://schemas.microsoft.com/office/powerpoint/2010/main" val="34828620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F0131209-3F37-41BF-8B53-B6182DF61DB0}"/>
              </a:ext>
            </a:extLst>
          </p:cNvPr>
          <p:cNvSpPr/>
          <p:nvPr/>
        </p:nvSpPr>
        <p:spPr bwMode="gray">
          <a:xfrm>
            <a:off x="6651540" y="3611861"/>
            <a:ext cx="286711" cy="379321"/>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cxnSp>
        <p:nvCxnSpPr>
          <p:cNvPr id="21" name="Straight Connector 20">
            <a:extLst>
              <a:ext uri="{FF2B5EF4-FFF2-40B4-BE49-F238E27FC236}">
                <a16:creationId xmlns:a16="http://schemas.microsoft.com/office/drawing/2014/main" id="{AD6274D3-519A-4C9C-A361-7AC0F65060C8}"/>
              </a:ext>
            </a:extLst>
          </p:cNvPr>
          <p:cNvCxnSpPr>
            <a:cxnSpLocks/>
          </p:cNvCxnSpPr>
          <p:nvPr/>
        </p:nvCxnSpPr>
        <p:spPr bwMode="gray">
          <a:xfrm flipH="1">
            <a:off x="6036841" y="3807084"/>
            <a:ext cx="784551" cy="0"/>
          </a:xfrm>
          <a:prstGeom prst="line">
            <a:avLst/>
          </a:prstGeom>
          <a:ln w="19050" cap="rnd">
            <a:solidFill>
              <a:schemeClr val="accent2"/>
            </a:solidFill>
            <a:prstDash val="sysDash"/>
            <a:miter lim="800000"/>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544CAE81-DAB3-4EAB-AE1F-A6CB600EF314}"/>
              </a:ext>
            </a:extLst>
          </p:cNvPr>
          <p:cNvSpPr/>
          <p:nvPr/>
        </p:nvSpPr>
        <p:spPr bwMode="gray">
          <a:xfrm>
            <a:off x="676608" y="2955914"/>
            <a:ext cx="5499732" cy="1746287"/>
          </a:xfrm>
          <a:prstGeom prst="rect">
            <a:avLst/>
          </a:prstGeom>
          <a:solidFill>
            <a:schemeClr val="accent1"/>
          </a:solidFill>
          <a:ln w="19050">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2" name="Text Placeholder 1">
            <a:extLst>
              <a:ext uri="{FF2B5EF4-FFF2-40B4-BE49-F238E27FC236}">
                <a16:creationId xmlns:a16="http://schemas.microsoft.com/office/drawing/2014/main" id="{307A6F2C-F3BC-4611-8C8F-75E7F514628E}"/>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312EF722-A0D2-472E-B166-FAE514BF1F2D}"/>
              </a:ext>
            </a:extLst>
          </p:cNvPr>
          <p:cNvSpPr>
            <a:spLocks noGrp="1"/>
          </p:cNvSpPr>
          <p:nvPr>
            <p:ph type="body" sz="quarter" idx="27"/>
          </p:nvPr>
        </p:nvSpPr>
        <p:spPr/>
        <p:txBody>
          <a:bodyPr/>
          <a:lstStyle/>
          <a:p>
            <a:endParaRPr lang="en-US"/>
          </a:p>
        </p:txBody>
      </p:sp>
      <p:sp>
        <p:nvSpPr>
          <p:cNvPr id="4" name="Title 3">
            <a:extLst>
              <a:ext uri="{FF2B5EF4-FFF2-40B4-BE49-F238E27FC236}">
                <a16:creationId xmlns:a16="http://schemas.microsoft.com/office/drawing/2014/main" id="{F75856F5-AE3F-4897-8796-46079FEB1654}"/>
              </a:ext>
            </a:extLst>
          </p:cNvPr>
          <p:cNvSpPr>
            <a:spLocks noGrp="1"/>
          </p:cNvSpPr>
          <p:nvPr>
            <p:ph type="title"/>
          </p:nvPr>
        </p:nvSpPr>
        <p:spPr/>
        <p:txBody>
          <a:bodyPr/>
          <a:lstStyle/>
          <a:p>
            <a:r>
              <a:rPr lang="en-US"/>
              <a:t>Taking the first step to uncover digital inequities</a:t>
            </a:r>
          </a:p>
        </p:txBody>
      </p:sp>
      <p:sp>
        <p:nvSpPr>
          <p:cNvPr id="8" name="TextBox 7">
            <a:extLst>
              <a:ext uri="{FF2B5EF4-FFF2-40B4-BE49-F238E27FC236}">
                <a16:creationId xmlns:a16="http://schemas.microsoft.com/office/drawing/2014/main" id="{EACDADF2-ED82-4502-8D59-B8F59B7B41E7}"/>
              </a:ext>
            </a:extLst>
          </p:cNvPr>
          <p:cNvSpPr txBox="1"/>
          <p:nvPr/>
        </p:nvSpPr>
        <p:spPr bwMode="gray">
          <a:xfrm>
            <a:off x="1160583" y="3199819"/>
            <a:ext cx="5499732" cy="246221"/>
          </a:xfrm>
          <a:prstGeom prst="rect">
            <a:avLst/>
          </a:prstGeom>
          <a:noFill/>
        </p:spPr>
        <p:txBody>
          <a:bodyPr wrap="square" lIns="0" tIns="0" rIns="0" bIns="0" rtlCol="0">
            <a:spAutoFit/>
          </a:bodyPr>
          <a:lstStyle/>
          <a:p>
            <a:r>
              <a:rPr lang="en-US" sz="1600" b="1"/>
              <a:t>Measure digital equity challenges at two levels</a:t>
            </a:r>
          </a:p>
        </p:txBody>
      </p:sp>
      <p:sp>
        <p:nvSpPr>
          <p:cNvPr id="9" name="Isosceles Triangle 8">
            <a:extLst>
              <a:ext uri="{FF2B5EF4-FFF2-40B4-BE49-F238E27FC236}">
                <a16:creationId xmlns:a16="http://schemas.microsoft.com/office/drawing/2014/main" id="{010696ED-E321-48F8-9DBC-488D30B41631}"/>
              </a:ext>
            </a:extLst>
          </p:cNvPr>
          <p:cNvSpPr/>
          <p:nvPr/>
        </p:nvSpPr>
        <p:spPr bwMode="gray">
          <a:xfrm rot="12680207">
            <a:off x="490816" y="3202039"/>
            <a:ext cx="371585" cy="320332"/>
          </a:xfrm>
          <a:prstGeom prst="triangle">
            <a:avLst/>
          </a:prstGeom>
          <a:solidFill>
            <a:schemeClr val="accent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a:extLst>
              <a:ext uri="{FF2B5EF4-FFF2-40B4-BE49-F238E27FC236}">
                <a16:creationId xmlns:a16="http://schemas.microsoft.com/office/drawing/2014/main" id="{21B88CD0-0270-4039-8CDF-AABD3E9BF7EC}"/>
              </a:ext>
            </a:extLst>
          </p:cNvPr>
          <p:cNvSpPr txBox="1">
            <a:spLocks/>
          </p:cNvSpPr>
          <p:nvPr/>
        </p:nvSpPr>
        <p:spPr bwMode="gray">
          <a:xfrm>
            <a:off x="1160583" y="3728463"/>
            <a:ext cx="4692745" cy="569387"/>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r>
              <a:rPr lang="en-US" sz="1600"/>
              <a:t>Identify populations experiencing digital inequities</a:t>
            </a:r>
          </a:p>
          <a:p>
            <a:r>
              <a:rPr lang="en-US" sz="1600"/>
              <a:t>Assess individual barriers to full access</a:t>
            </a:r>
          </a:p>
        </p:txBody>
      </p:sp>
      <p:sp>
        <p:nvSpPr>
          <p:cNvPr id="19" name="Right Bracket 18">
            <a:extLst>
              <a:ext uri="{FF2B5EF4-FFF2-40B4-BE49-F238E27FC236}">
                <a16:creationId xmlns:a16="http://schemas.microsoft.com/office/drawing/2014/main" id="{746C4DC5-BB24-4319-8C35-4D530DC972B2}"/>
              </a:ext>
            </a:extLst>
          </p:cNvPr>
          <p:cNvSpPr/>
          <p:nvPr/>
        </p:nvSpPr>
        <p:spPr bwMode="gray">
          <a:xfrm flipH="1">
            <a:off x="6775644" y="2199470"/>
            <a:ext cx="4701853" cy="3537452"/>
          </a:xfrm>
          <a:prstGeom prst="rightBracket">
            <a:avLst>
              <a:gd name="adj" fmla="val 0"/>
            </a:avLst>
          </a:prstGeom>
          <a:ln w="19050">
            <a:solidFill>
              <a:schemeClr val="accent2"/>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018879" rtl="0" eaLnBrk="1" latinLnBrk="0" hangingPunct="1">
              <a:defRPr sz="2100" kern="1200">
                <a:solidFill>
                  <a:schemeClr val="tx1"/>
                </a:solidFill>
                <a:latin typeface="+mn-lt"/>
                <a:ea typeface="+mn-ea"/>
                <a:cs typeface="+mn-cs"/>
              </a:defRPr>
            </a:lvl1pPr>
            <a:lvl2pPr marL="509440" algn="l" defTabSz="1018879" rtl="0" eaLnBrk="1" latinLnBrk="0" hangingPunct="1">
              <a:defRPr sz="2100" kern="1200">
                <a:solidFill>
                  <a:schemeClr val="tx1"/>
                </a:solidFill>
                <a:latin typeface="+mn-lt"/>
                <a:ea typeface="+mn-ea"/>
                <a:cs typeface="+mn-cs"/>
              </a:defRPr>
            </a:lvl2pPr>
            <a:lvl3pPr marL="1018879" algn="l" defTabSz="1018879" rtl="0" eaLnBrk="1" latinLnBrk="0" hangingPunct="1">
              <a:defRPr sz="2100" kern="1200">
                <a:solidFill>
                  <a:schemeClr val="tx1"/>
                </a:solidFill>
                <a:latin typeface="+mn-lt"/>
                <a:ea typeface="+mn-ea"/>
                <a:cs typeface="+mn-cs"/>
              </a:defRPr>
            </a:lvl3pPr>
            <a:lvl4pPr marL="1528319" algn="l" defTabSz="1018879" rtl="0" eaLnBrk="1" latinLnBrk="0" hangingPunct="1">
              <a:defRPr sz="2100" kern="1200">
                <a:solidFill>
                  <a:schemeClr val="tx1"/>
                </a:solidFill>
                <a:latin typeface="+mn-lt"/>
                <a:ea typeface="+mn-ea"/>
                <a:cs typeface="+mn-cs"/>
              </a:defRPr>
            </a:lvl4pPr>
            <a:lvl5pPr marL="2037759" algn="l" defTabSz="1018879" rtl="0" eaLnBrk="1" latinLnBrk="0" hangingPunct="1">
              <a:defRPr sz="2100" kern="1200">
                <a:solidFill>
                  <a:schemeClr val="tx1"/>
                </a:solidFill>
                <a:latin typeface="+mn-lt"/>
                <a:ea typeface="+mn-ea"/>
                <a:cs typeface="+mn-cs"/>
              </a:defRPr>
            </a:lvl5pPr>
            <a:lvl6pPr marL="2547198" algn="l" defTabSz="1018879" rtl="0" eaLnBrk="1" latinLnBrk="0" hangingPunct="1">
              <a:defRPr sz="2100" kern="1200">
                <a:solidFill>
                  <a:schemeClr val="tx1"/>
                </a:solidFill>
                <a:latin typeface="+mn-lt"/>
                <a:ea typeface="+mn-ea"/>
                <a:cs typeface="+mn-cs"/>
              </a:defRPr>
            </a:lvl6pPr>
            <a:lvl7pPr marL="3056638" algn="l" defTabSz="1018879" rtl="0" eaLnBrk="1" latinLnBrk="0" hangingPunct="1">
              <a:defRPr sz="2100" kern="1200">
                <a:solidFill>
                  <a:schemeClr val="tx1"/>
                </a:solidFill>
                <a:latin typeface="+mn-lt"/>
                <a:ea typeface="+mn-ea"/>
                <a:cs typeface="+mn-cs"/>
              </a:defRPr>
            </a:lvl7pPr>
            <a:lvl8pPr marL="3566078" algn="l" defTabSz="1018879" rtl="0" eaLnBrk="1" latinLnBrk="0" hangingPunct="1">
              <a:defRPr sz="2100" kern="1200">
                <a:solidFill>
                  <a:schemeClr val="tx1"/>
                </a:solidFill>
                <a:latin typeface="+mn-lt"/>
                <a:ea typeface="+mn-ea"/>
                <a:cs typeface="+mn-cs"/>
              </a:defRPr>
            </a:lvl8pPr>
            <a:lvl9pPr marL="4075517" algn="l" defTabSz="1018879" rtl="0" eaLnBrk="1" latinLnBrk="0" hangingPunct="1">
              <a:defRPr sz="2100" kern="1200">
                <a:solidFill>
                  <a:schemeClr val="tx1"/>
                </a:solidFill>
                <a:latin typeface="+mn-lt"/>
                <a:ea typeface="+mn-ea"/>
                <a:cs typeface="+mn-cs"/>
              </a:defRPr>
            </a:lvl9pPr>
          </a:lstStyle>
          <a:p>
            <a:pPr algn="ctr"/>
            <a:endParaRPr lang="en-US" sz="3000"/>
          </a:p>
        </p:txBody>
      </p:sp>
      <p:sp>
        <p:nvSpPr>
          <p:cNvPr id="18" name="Text Placeholder">
            <a:extLst>
              <a:ext uri="{FF2B5EF4-FFF2-40B4-BE49-F238E27FC236}">
                <a16:creationId xmlns:a16="http://schemas.microsoft.com/office/drawing/2014/main" id="{30189819-949F-4FA6-B971-E53F346E36F2}"/>
              </a:ext>
            </a:extLst>
          </p:cNvPr>
          <p:cNvSpPr txBox="1">
            <a:spLocks/>
          </p:cNvSpPr>
          <p:nvPr/>
        </p:nvSpPr>
        <p:spPr bwMode="gray">
          <a:xfrm>
            <a:off x="7100857" y="2457699"/>
            <a:ext cx="4414535" cy="1154162"/>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buNone/>
            </a:pPr>
            <a:r>
              <a:rPr lang="en-US" b="1"/>
              <a:t>Secure access to broadband and devices</a:t>
            </a:r>
          </a:p>
          <a:p>
            <a:pPr marL="169821" indent="-169821"/>
            <a:r>
              <a:rPr lang="en-US"/>
              <a:t>Support initiatives to expand broadband access </a:t>
            </a:r>
          </a:p>
          <a:p>
            <a:pPr marL="169821" indent="-169821"/>
            <a:r>
              <a:rPr lang="en-US"/>
              <a:t>Distribute devices</a:t>
            </a:r>
          </a:p>
          <a:p>
            <a:pPr marL="169821" indent="-169821"/>
            <a:r>
              <a:rPr lang="en-US"/>
              <a:t>Offer alternative options for patients to connect</a:t>
            </a:r>
          </a:p>
        </p:txBody>
      </p:sp>
      <p:sp>
        <p:nvSpPr>
          <p:cNvPr id="22" name="Text Placeholder">
            <a:extLst>
              <a:ext uri="{FF2B5EF4-FFF2-40B4-BE49-F238E27FC236}">
                <a16:creationId xmlns:a16="http://schemas.microsoft.com/office/drawing/2014/main" id="{B311A566-DB19-4C2C-ADE5-2611469FB454}"/>
              </a:ext>
            </a:extLst>
          </p:cNvPr>
          <p:cNvSpPr txBox="1">
            <a:spLocks/>
          </p:cNvSpPr>
          <p:nvPr/>
        </p:nvSpPr>
        <p:spPr bwMode="gray">
          <a:xfrm>
            <a:off x="7100856" y="3963575"/>
            <a:ext cx="4376641" cy="1615827"/>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indent="0">
              <a:buNone/>
            </a:pPr>
            <a:r>
              <a:rPr lang="en-US" b="1"/>
              <a:t>Ensure patients can use digital tools</a:t>
            </a:r>
          </a:p>
          <a:p>
            <a:pPr marL="169821" indent="-169821"/>
            <a:r>
              <a:rPr lang="en-US"/>
              <a:t>Provide services to improve patient digital literacy </a:t>
            </a:r>
          </a:p>
          <a:p>
            <a:pPr marL="169821" indent="-169821"/>
            <a:r>
              <a:rPr lang="en-US"/>
              <a:t>Incorporate interpreter and language services into digital tools</a:t>
            </a:r>
          </a:p>
          <a:p>
            <a:pPr marL="169821" indent="-169821"/>
            <a:r>
              <a:rPr lang="en-US"/>
              <a:t>Design platforms for improved accessibility and inclusive end-user experience </a:t>
            </a:r>
          </a:p>
        </p:txBody>
      </p:sp>
      <p:sp>
        <p:nvSpPr>
          <p:cNvPr id="28" name="TextBox 27">
            <a:extLst>
              <a:ext uri="{FF2B5EF4-FFF2-40B4-BE49-F238E27FC236}">
                <a16:creationId xmlns:a16="http://schemas.microsoft.com/office/drawing/2014/main" id="{9D8827B0-7FB5-4806-9D89-DE508A643A37}"/>
              </a:ext>
            </a:extLst>
          </p:cNvPr>
          <p:cNvSpPr txBox="1"/>
          <p:nvPr/>
        </p:nvSpPr>
        <p:spPr bwMode="gray">
          <a:xfrm>
            <a:off x="8477403" y="2070355"/>
            <a:ext cx="1305423" cy="246221"/>
          </a:xfrm>
          <a:prstGeom prst="rect">
            <a:avLst/>
          </a:prstGeom>
          <a:solidFill>
            <a:schemeClr val="bg1"/>
          </a:solidFill>
        </p:spPr>
        <p:txBody>
          <a:bodyPr vert="horz" wrap="square" lIns="0" tIns="0" rIns="0" bIns="0" rtlCol="0">
            <a:spAutoFit/>
          </a:bodyPr>
          <a:lstStyle/>
          <a:p>
            <a:pPr algn="ctr">
              <a:spcBef>
                <a:spcPts val="600"/>
              </a:spcBef>
              <a:buClr>
                <a:schemeClr val="accent6"/>
              </a:buClr>
            </a:pPr>
            <a:r>
              <a:rPr lang="en-US" sz="1600" i="1">
                <a:solidFill>
                  <a:schemeClr val="accent2"/>
                </a:solidFill>
              </a:rPr>
              <a:t>Future steps</a:t>
            </a:r>
          </a:p>
        </p:txBody>
      </p:sp>
      <p:sp>
        <p:nvSpPr>
          <p:cNvPr id="29" name="Text Placeholder 16">
            <a:extLst>
              <a:ext uri="{FF2B5EF4-FFF2-40B4-BE49-F238E27FC236}">
                <a16:creationId xmlns:a16="http://schemas.microsoft.com/office/drawing/2014/main" id="{64DA4799-2B85-4A1E-9977-ADDFF70F5987}"/>
              </a:ext>
            </a:extLst>
          </p:cNvPr>
          <p:cNvSpPr txBox="1">
            <a:spLocks/>
          </p:cNvSpPr>
          <p:nvPr/>
        </p:nvSpPr>
        <p:spPr bwMode="gray">
          <a:xfrm>
            <a:off x="876045" y="2379811"/>
            <a:ext cx="2630910" cy="461665"/>
          </a:xfrm>
          <a:prstGeom prst="rect">
            <a:avLst/>
          </a:prstGeom>
        </p:spPr>
        <p:txBody>
          <a:bodyPr vert="horz" wrap="square" lIns="0" tIns="0" rIns="0" bIns="0" rtlCol="0">
            <a:spAutoFit/>
          </a:bodyPr>
          <a:lstStyle>
            <a:lvl1pPr marL="0" indent="0" algn="ctr" defTabSz="1018879" rtl="0" eaLnBrk="1" latinLnBrk="0" hangingPunct="1">
              <a:spcBef>
                <a:spcPts val="0"/>
              </a:spcBef>
              <a:buFont typeface="Wingdings" pitchFamily="2" charset="2"/>
              <a:buNone/>
              <a:defRPr sz="1600" b="1" kern="1200">
                <a:solidFill>
                  <a:schemeClr val="accent6"/>
                </a:solidFill>
                <a:latin typeface="+mn-lt"/>
                <a:ea typeface="+mn-ea"/>
                <a:cs typeface="+mn-cs"/>
              </a:defRPr>
            </a:lvl1pPr>
            <a:lvl2pPr marL="230188" indent="-117475" algn="ctr" defTabSz="1018879" rtl="0" eaLnBrk="1" latinLnBrk="0" hangingPunct="1">
              <a:spcBef>
                <a:spcPts val="500"/>
              </a:spcBef>
              <a:buFont typeface="Arial" pitchFamily="34" charset="0"/>
              <a:buNone/>
              <a:defRPr sz="1000" b="1" kern="1200">
                <a:solidFill>
                  <a:schemeClr val="tx1"/>
                </a:solidFill>
                <a:latin typeface="+mn-lt"/>
                <a:ea typeface="+mn-ea"/>
                <a:cs typeface="+mn-cs"/>
              </a:defRPr>
            </a:lvl2pPr>
            <a:lvl3pPr marL="342900" indent="-112713" algn="ctr" defTabSz="1018879" rtl="0" eaLnBrk="1" latinLnBrk="0" hangingPunct="1">
              <a:spcBef>
                <a:spcPts val="500"/>
              </a:spcBef>
              <a:buFont typeface="Wingdings" pitchFamily="2" charset="2"/>
              <a:buNone/>
              <a:defRPr sz="1000" b="1" kern="1200">
                <a:solidFill>
                  <a:schemeClr val="tx1"/>
                </a:solidFill>
                <a:latin typeface="+mn-lt"/>
                <a:ea typeface="+mn-ea"/>
                <a:cs typeface="+mn-cs"/>
              </a:defRPr>
            </a:lvl3pPr>
            <a:lvl4pPr marL="458788" indent="-115888" algn="ctr" defTabSz="1018879" rtl="0" eaLnBrk="1" latinLnBrk="0" hangingPunct="1">
              <a:spcBef>
                <a:spcPts val="500"/>
              </a:spcBef>
              <a:buFont typeface="Arial" pitchFamily="34" charset="0"/>
              <a:buNone/>
              <a:defRPr sz="1000" b="1" kern="1200">
                <a:solidFill>
                  <a:schemeClr val="tx1"/>
                </a:solidFill>
                <a:latin typeface="+mn-lt"/>
                <a:ea typeface="+mn-ea"/>
                <a:cs typeface="+mn-cs"/>
              </a:defRPr>
            </a:lvl4pPr>
            <a:lvl5pPr marL="571500" indent="-112713" algn="ctr" defTabSz="1018879" rtl="0" eaLnBrk="1" latinLnBrk="0" hangingPunct="1">
              <a:spcBef>
                <a:spcPts val="500"/>
              </a:spcBef>
              <a:buFont typeface="Wingdings" pitchFamily="2" charset="2"/>
              <a:buNone/>
              <a:defRPr sz="1000" b="1" kern="1200" baseline="0">
                <a:solidFill>
                  <a:schemeClr val="tx1"/>
                </a:solidFill>
                <a:latin typeface="+mn-lt"/>
                <a:ea typeface="+mn-ea"/>
                <a:cs typeface="+mn-cs"/>
              </a:defRPr>
            </a:lvl5pPr>
            <a:lvl6pPr marL="2801918" indent="-254720" algn="l" defTabSz="1018879"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358" indent="-254720" algn="l" defTabSz="1018879"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798" indent="-254720" algn="l" defTabSz="1018879"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237" indent="-254720" algn="l" defTabSz="1018879"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l"/>
            <a:r>
              <a:rPr lang="en-US" sz="3000" b="0"/>
              <a:t>Prerequisite</a:t>
            </a:r>
          </a:p>
        </p:txBody>
      </p:sp>
    </p:spTree>
    <p:extLst>
      <p:ext uri="{BB962C8B-B14F-4D97-AF65-F5344CB8AC3E}">
        <p14:creationId xmlns:p14="http://schemas.microsoft.com/office/powerpoint/2010/main" val="28052820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F2F20E-296A-4351-9DF5-EAA8A1ED01D1}"/>
              </a:ext>
            </a:extLst>
          </p:cNvPr>
          <p:cNvSpPr>
            <a:spLocks noGrp="1"/>
          </p:cNvSpPr>
          <p:nvPr>
            <p:ph type="body" sz="quarter" idx="28"/>
          </p:nvPr>
        </p:nvSpPr>
        <p:spPr>
          <a:xfrm>
            <a:off x="612773" y="6060046"/>
            <a:ext cx="3657600" cy="107722"/>
          </a:xfrm>
        </p:spPr>
        <p:txBody>
          <a:bodyPr/>
          <a:lstStyle/>
          <a:p>
            <a:pPr marL="0" indent="0">
              <a:buNone/>
            </a:pPr>
            <a:r>
              <a:rPr lang="en-US"/>
              <a:t>   </a:t>
            </a:r>
          </a:p>
        </p:txBody>
      </p:sp>
      <p:sp>
        <p:nvSpPr>
          <p:cNvPr id="3" name="Text Placeholder 2">
            <a:extLst>
              <a:ext uri="{FF2B5EF4-FFF2-40B4-BE49-F238E27FC236}">
                <a16:creationId xmlns:a16="http://schemas.microsoft.com/office/drawing/2014/main" id="{81CC7FDE-B161-45CD-AE9E-4FBBDF80FC94}"/>
              </a:ext>
            </a:extLst>
          </p:cNvPr>
          <p:cNvSpPr>
            <a:spLocks noGrp="1"/>
          </p:cNvSpPr>
          <p:nvPr>
            <p:ph type="body" sz="quarter" idx="27"/>
          </p:nvPr>
        </p:nvSpPr>
        <p:spPr>
          <a:xfrm>
            <a:off x="8732520" y="5890686"/>
            <a:ext cx="3091268" cy="246221"/>
          </a:xfrm>
        </p:spPr>
        <p:txBody>
          <a:bodyPr/>
          <a:lstStyle/>
          <a:p>
            <a:r>
              <a:rPr lang="en-US"/>
              <a:t>Source: “</a:t>
            </a:r>
            <a:r>
              <a:rPr lang="en-US" sz="800" u="sng">
                <a:solidFill>
                  <a:schemeClr val="accent5"/>
                </a:solidFill>
                <a:hlinkClick r:id="rId3"/>
              </a:rPr>
              <a:t>San Francisco Digital Equity Intake Form</a:t>
            </a:r>
            <a:r>
              <a:rPr lang="en-US" sz="800" u="sng">
                <a:solidFill>
                  <a:schemeClr val="accent5"/>
                </a:solidFill>
              </a:rPr>
              <a:t>,”; “</a:t>
            </a:r>
            <a:r>
              <a:rPr lang="en-US" sz="800">
                <a:solidFill>
                  <a:schemeClr val="accent5"/>
                </a:solidFill>
                <a:hlinkClick r:id="rId4">
                  <a:extLst>
                    <a:ext uri="{A12FA001-AC4F-418D-AE19-62706E023703}">
                      <ahyp:hlinkClr xmlns:ahyp="http://schemas.microsoft.com/office/drawing/2018/hyperlinkcolor" val="tx"/>
                    </a:ext>
                  </a:extLst>
                </a:hlinkClick>
              </a:rPr>
              <a:t>Northstar’s Essential Computer Skills Assessment</a:t>
            </a:r>
            <a:r>
              <a:rPr lang="en-US" sz="800">
                <a:solidFill>
                  <a:schemeClr val="accent5"/>
                </a:solidFill>
              </a:rPr>
              <a:t>,” </a:t>
            </a:r>
            <a:r>
              <a:rPr lang="en-US" sz="800" err="1">
                <a:solidFill>
                  <a:schemeClr val="accent5"/>
                </a:solidFill>
              </a:rPr>
              <a:t>Northstar</a:t>
            </a:r>
            <a:r>
              <a:rPr lang="en-US" sz="800">
                <a:solidFill>
                  <a:schemeClr val="accent5"/>
                </a:solidFill>
              </a:rPr>
              <a:t>.</a:t>
            </a:r>
            <a:endParaRPr lang="en-US"/>
          </a:p>
        </p:txBody>
      </p:sp>
      <p:sp>
        <p:nvSpPr>
          <p:cNvPr id="4" name="Title 3">
            <a:extLst>
              <a:ext uri="{FF2B5EF4-FFF2-40B4-BE49-F238E27FC236}">
                <a16:creationId xmlns:a16="http://schemas.microsoft.com/office/drawing/2014/main" id="{F2181A4B-193B-4335-BED7-E0D6AA858EC8}"/>
              </a:ext>
            </a:extLst>
          </p:cNvPr>
          <p:cNvSpPr>
            <a:spLocks noGrp="1"/>
          </p:cNvSpPr>
          <p:nvPr>
            <p:ph type="title"/>
          </p:nvPr>
        </p:nvSpPr>
        <p:spPr>
          <a:xfrm>
            <a:off x="612774" y="588771"/>
            <a:ext cx="10972801" cy="540917"/>
          </a:xfrm>
        </p:spPr>
        <p:txBody>
          <a:bodyPr/>
          <a:lstStyle/>
          <a:p>
            <a:r>
              <a:rPr lang="en-US"/>
              <a:t>Collect patient data to clarify who lacks access</a:t>
            </a:r>
          </a:p>
        </p:txBody>
      </p:sp>
      <p:sp>
        <p:nvSpPr>
          <p:cNvPr id="5" name="TextBox 4">
            <a:extLst>
              <a:ext uri="{FF2B5EF4-FFF2-40B4-BE49-F238E27FC236}">
                <a16:creationId xmlns:a16="http://schemas.microsoft.com/office/drawing/2014/main" id="{60B0A20F-DEA7-447E-B6D7-ABD78ACD9A4E}"/>
              </a:ext>
            </a:extLst>
          </p:cNvPr>
          <p:cNvSpPr txBox="1"/>
          <p:nvPr/>
        </p:nvSpPr>
        <p:spPr bwMode="gray">
          <a:xfrm>
            <a:off x="612773" y="1750917"/>
            <a:ext cx="6041571"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Incorporate a digital capabilities assessment at intake</a:t>
            </a:r>
          </a:p>
        </p:txBody>
      </p:sp>
      <p:sp>
        <p:nvSpPr>
          <p:cNvPr id="9" name="Freeform 35">
            <a:extLst>
              <a:ext uri="{FF2B5EF4-FFF2-40B4-BE49-F238E27FC236}">
                <a16:creationId xmlns:a16="http://schemas.microsoft.com/office/drawing/2014/main" id="{3B296B6D-D7F0-4026-B08C-87D333BBDE88}"/>
              </a:ext>
            </a:extLst>
          </p:cNvPr>
          <p:cNvSpPr/>
          <p:nvPr/>
        </p:nvSpPr>
        <p:spPr bwMode="gray">
          <a:xfrm>
            <a:off x="760164" y="2318860"/>
            <a:ext cx="5739787" cy="3848908"/>
          </a:xfrm>
          <a:custGeom>
            <a:avLst/>
            <a:gdLst>
              <a:gd name="connsiteX0" fmla="*/ 0 w 1715445"/>
              <a:gd name="connsiteY0" fmla="*/ 0 h 2108410"/>
              <a:gd name="connsiteX1" fmla="*/ 1715445 w 1715445"/>
              <a:gd name="connsiteY1" fmla="*/ 0 h 2108410"/>
              <a:gd name="connsiteX2" fmla="*/ 1715445 w 1715445"/>
              <a:gd name="connsiteY2" fmla="*/ 2108410 h 2108410"/>
              <a:gd name="connsiteX3" fmla="*/ 0 w 1715445"/>
              <a:gd name="connsiteY3" fmla="*/ 2108410 h 2108410"/>
              <a:gd name="connsiteX4" fmla="*/ 0 w 1715445"/>
              <a:gd name="connsiteY4" fmla="*/ 0 h 2108410"/>
              <a:gd name="connsiteX0" fmla="*/ 0 w 1715445"/>
              <a:gd name="connsiteY0" fmla="*/ 0 h 2108410"/>
              <a:gd name="connsiteX1" fmla="*/ 1715445 w 1715445"/>
              <a:gd name="connsiteY1" fmla="*/ 0 h 2108410"/>
              <a:gd name="connsiteX2" fmla="*/ 1715445 w 1715445"/>
              <a:gd name="connsiteY2" fmla="*/ 2108410 h 2108410"/>
              <a:gd name="connsiteX3" fmla="*/ 75571 w 1715445"/>
              <a:gd name="connsiteY3" fmla="*/ 2108410 h 2108410"/>
              <a:gd name="connsiteX4" fmla="*/ 0 w 1715445"/>
              <a:gd name="connsiteY4" fmla="*/ 2108410 h 2108410"/>
              <a:gd name="connsiteX5" fmla="*/ 0 w 1715445"/>
              <a:gd name="connsiteY5"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75571 w 1715445"/>
              <a:gd name="connsiteY4" fmla="*/ 2108410 h 2108410"/>
              <a:gd name="connsiteX5" fmla="*/ 0 w 1715445"/>
              <a:gd name="connsiteY5" fmla="*/ 2108410 h 2108410"/>
              <a:gd name="connsiteX6" fmla="*/ 0 w 1715445"/>
              <a:gd name="connsiteY6"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226711 w 1715445"/>
              <a:gd name="connsiteY4" fmla="*/ 2108410 h 2108410"/>
              <a:gd name="connsiteX5" fmla="*/ 75571 w 1715445"/>
              <a:gd name="connsiteY5" fmla="*/ 2108410 h 2108410"/>
              <a:gd name="connsiteX6" fmla="*/ 0 w 1715445"/>
              <a:gd name="connsiteY6" fmla="*/ 2108410 h 2108410"/>
              <a:gd name="connsiteX7" fmla="*/ 0 w 1715445"/>
              <a:gd name="connsiteY7"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226711 w 1715445"/>
              <a:gd name="connsiteY5" fmla="*/ 2108410 h 2108410"/>
              <a:gd name="connsiteX6" fmla="*/ 75571 w 1715445"/>
              <a:gd name="connsiteY6" fmla="*/ 2108410 h 2108410"/>
              <a:gd name="connsiteX7" fmla="*/ 0 w 1715445"/>
              <a:gd name="connsiteY7" fmla="*/ 2108410 h 2108410"/>
              <a:gd name="connsiteX8" fmla="*/ 0 w 1715445"/>
              <a:gd name="connsiteY8"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370294 w 1715445"/>
              <a:gd name="connsiteY5" fmla="*/ 2108410 h 2108410"/>
              <a:gd name="connsiteX6" fmla="*/ 226711 w 1715445"/>
              <a:gd name="connsiteY6" fmla="*/ 2108410 h 2108410"/>
              <a:gd name="connsiteX7" fmla="*/ 75571 w 1715445"/>
              <a:gd name="connsiteY7" fmla="*/ 2108410 h 2108410"/>
              <a:gd name="connsiteX8" fmla="*/ 0 w 1715445"/>
              <a:gd name="connsiteY8" fmla="*/ 2108410 h 2108410"/>
              <a:gd name="connsiteX9" fmla="*/ 0 w 1715445"/>
              <a:gd name="connsiteY9"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370294 w 1715445"/>
              <a:gd name="connsiteY6" fmla="*/ 2108410 h 2108410"/>
              <a:gd name="connsiteX7" fmla="*/ 226711 w 1715445"/>
              <a:gd name="connsiteY7" fmla="*/ 2108410 h 2108410"/>
              <a:gd name="connsiteX8" fmla="*/ 75571 w 1715445"/>
              <a:gd name="connsiteY8" fmla="*/ 2108410 h 2108410"/>
              <a:gd name="connsiteX9" fmla="*/ 0 w 1715445"/>
              <a:gd name="connsiteY9" fmla="*/ 2108410 h 2108410"/>
              <a:gd name="connsiteX10" fmla="*/ 0 w 1715445"/>
              <a:gd name="connsiteY10"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521435 w 1715445"/>
              <a:gd name="connsiteY6" fmla="*/ 2108410 h 2108410"/>
              <a:gd name="connsiteX7" fmla="*/ 370294 w 1715445"/>
              <a:gd name="connsiteY7" fmla="*/ 2108410 h 2108410"/>
              <a:gd name="connsiteX8" fmla="*/ 226711 w 1715445"/>
              <a:gd name="connsiteY8" fmla="*/ 2108410 h 2108410"/>
              <a:gd name="connsiteX9" fmla="*/ 75571 w 1715445"/>
              <a:gd name="connsiteY9" fmla="*/ 2108410 h 2108410"/>
              <a:gd name="connsiteX10" fmla="*/ 0 w 1715445"/>
              <a:gd name="connsiteY10" fmla="*/ 2108410 h 2108410"/>
              <a:gd name="connsiteX11" fmla="*/ 0 w 1715445"/>
              <a:gd name="connsiteY11"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808602 w 1715445"/>
              <a:gd name="connsiteY6" fmla="*/ 2108410 h 2108410"/>
              <a:gd name="connsiteX7" fmla="*/ 521435 w 1715445"/>
              <a:gd name="connsiteY7" fmla="*/ 2108410 h 2108410"/>
              <a:gd name="connsiteX8" fmla="*/ 370294 w 1715445"/>
              <a:gd name="connsiteY8" fmla="*/ 2108410 h 2108410"/>
              <a:gd name="connsiteX9" fmla="*/ 226711 w 1715445"/>
              <a:gd name="connsiteY9" fmla="*/ 2108410 h 2108410"/>
              <a:gd name="connsiteX10" fmla="*/ 75571 w 1715445"/>
              <a:gd name="connsiteY10" fmla="*/ 2108410 h 2108410"/>
              <a:gd name="connsiteX11" fmla="*/ 0 w 1715445"/>
              <a:gd name="connsiteY11" fmla="*/ 2108410 h 2108410"/>
              <a:gd name="connsiteX12" fmla="*/ 0 w 1715445"/>
              <a:gd name="connsiteY12" fmla="*/ 0 h 2108410"/>
              <a:gd name="connsiteX0" fmla="*/ 0 w 1715445"/>
              <a:gd name="connsiteY0" fmla="*/ 0 h 2108410"/>
              <a:gd name="connsiteX1" fmla="*/ 1715445 w 1715445"/>
              <a:gd name="connsiteY1" fmla="*/ 0 h 2108410"/>
              <a:gd name="connsiteX2" fmla="*/ 1715445 w 1715445"/>
              <a:gd name="connsiteY2" fmla="*/ 2108410 h 2108410"/>
              <a:gd name="connsiteX3" fmla="*/ 1541633 w 1715445"/>
              <a:gd name="connsiteY3" fmla="*/ 2100853 h 2108410"/>
              <a:gd name="connsiteX4" fmla="*/ 1254466 w 1715445"/>
              <a:gd name="connsiteY4" fmla="*/ 2100853 h 2108410"/>
              <a:gd name="connsiteX5" fmla="*/ 1035313 w 1715445"/>
              <a:gd name="connsiteY5" fmla="*/ 2108410 h 2108410"/>
              <a:gd name="connsiteX6" fmla="*/ 808602 w 1715445"/>
              <a:gd name="connsiteY6" fmla="*/ 2108410 h 2108410"/>
              <a:gd name="connsiteX7" fmla="*/ 521435 w 1715445"/>
              <a:gd name="connsiteY7" fmla="*/ 2108410 h 2108410"/>
              <a:gd name="connsiteX8" fmla="*/ 370294 w 1715445"/>
              <a:gd name="connsiteY8" fmla="*/ 2108410 h 2108410"/>
              <a:gd name="connsiteX9" fmla="*/ 226711 w 1715445"/>
              <a:gd name="connsiteY9" fmla="*/ 2108410 h 2108410"/>
              <a:gd name="connsiteX10" fmla="*/ 75571 w 1715445"/>
              <a:gd name="connsiteY10" fmla="*/ 2108410 h 2108410"/>
              <a:gd name="connsiteX11" fmla="*/ 0 w 1715445"/>
              <a:gd name="connsiteY11" fmla="*/ 2108410 h 2108410"/>
              <a:gd name="connsiteX12" fmla="*/ 0 w 1715445"/>
              <a:gd name="connsiteY12" fmla="*/ 0 h 2108410"/>
              <a:gd name="connsiteX0" fmla="*/ 0 w 1715445"/>
              <a:gd name="connsiteY0" fmla="*/ 0 h 2172805"/>
              <a:gd name="connsiteX1" fmla="*/ 1715445 w 1715445"/>
              <a:gd name="connsiteY1" fmla="*/ 0 h 2172805"/>
              <a:gd name="connsiteX2" fmla="*/ 1715445 w 1715445"/>
              <a:gd name="connsiteY2" fmla="*/ 2108410 h 2172805"/>
              <a:gd name="connsiteX3" fmla="*/ 1541633 w 1715445"/>
              <a:gd name="connsiteY3" fmla="*/ 2100853 h 2172805"/>
              <a:gd name="connsiteX4" fmla="*/ 1254466 w 1715445"/>
              <a:gd name="connsiteY4" fmla="*/ 2100853 h 2172805"/>
              <a:gd name="connsiteX5" fmla="*/ 1035313 w 1715445"/>
              <a:gd name="connsiteY5" fmla="*/ 2108410 h 2172805"/>
              <a:gd name="connsiteX6" fmla="*/ 808602 w 1715445"/>
              <a:gd name="connsiteY6" fmla="*/ 2108410 h 2172805"/>
              <a:gd name="connsiteX7" fmla="*/ 521435 w 1715445"/>
              <a:gd name="connsiteY7" fmla="*/ 2108410 h 2172805"/>
              <a:gd name="connsiteX8" fmla="*/ 370294 w 1715445"/>
              <a:gd name="connsiteY8" fmla="*/ 2108410 h 2172805"/>
              <a:gd name="connsiteX9" fmla="*/ 226711 w 1715445"/>
              <a:gd name="connsiteY9" fmla="*/ 2108410 h 2172805"/>
              <a:gd name="connsiteX10" fmla="*/ 75571 w 1715445"/>
              <a:gd name="connsiteY10" fmla="*/ 2172805 h 2172805"/>
              <a:gd name="connsiteX11" fmla="*/ 0 w 1715445"/>
              <a:gd name="connsiteY11" fmla="*/ 2108410 h 2172805"/>
              <a:gd name="connsiteX12" fmla="*/ 0 w 1715445"/>
              <a:gd name="connsiteY12" fmla="*/ 0 h 2172805"/>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1035313 w 1715445"/>
              <a:gd name="connsiteY5" fmla="*/ 2108410 h 2189976"/>
              <a:gd name="connsiteX6" fmla="*/ 808602 w 1715445"/>
              <a:gd name="connsiteY6" fmla="*/ 2108410 h 2189976"/>
              <a:gd name="connsiteX7" fmla="*/ 521435 w 1715445"/>
              <a:gd name="connsiteY7" fmla="*/ 2108410 h 2189976"/>
              <a:gd name="connsiteX8" fmla="*/ 370294 w 1715445"/>
              <a:gd name="connsiteY8" fmla="*/ 2189976 h 2189976"/>
              <a:gd name="connsiteX9" fmla="*/ 226711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1035313 w 1715445"/>
              <a:gd name="connsiteY5" fmla="*/ 2108410 h 2189976"/>
              <a:gd name="connsiteX6" fmla="*/ 808602 w 1715445"/>
              <a:gd name="connsiteY6" fmla="*/ 2108410 h 2189976"/>
              <a:gd name="connsiteX7" fmla="*/ 521435 w 1715445"/>
              <a:gd name="connsiteY7" fmla="*/ 2108410 h 2189976"/>
              <a:gd name="connsiteX8" fmla="*/ 370294 w 1715445"/>
              <a:gd name="connsiteY8" fmla="*/ 2189976 h 2189976"/>
              <a:gd name="connsiteX9" fmla="*/ 158024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1035313 w 1715445"/>
              <a:gd name="connsiteY5" fmla="*/ 2108410 h 2189976"/>
              <a:gd name="connsiteX6" fmla="*/ 606833 w 1715445"/>
              <a:gd name="connsiteY6" fmla="*/ 2164219 h 2189976"/>
              <a:gd name="connsiteX7" fmla="*/ 521435 w 1715445"/>
              <a:gd name="connsiteY7" fmla="*/ 2108410 h 2189976"/>
              <a:gd name="connsiteX8" fmla="*/ 370294 w 1715445"/>
              <a:gd name="connsiteY8" fmla="*/ 2189976 h 2189976"/>
              <a:gd name="connsiteX9" fmla="*/ 158024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803493 w 1715445"/>
              <a:gd name="connsiteY5" fmla="*/ 2108410 h 2189976"/>
              <a:gd name="connsiteX6" fmla="*/ 606833 w 1715445"/>
              <a:gd name="connsiteY6" fmla="*/ 2164219 h 2189976"/>
              <a:gd name="connsiteX7" fmla="*/ 521435 w 1715445"/>
              <a:gd name="connsiteY7" fmla="*/ 2108410 h 2189976"/>
              <a:gd name="connsiteX8" fmla="*/ 370294 w 1715445"/>
              <a:gd name="connsiteY8" fmla="*/ 2189976 h 2189976"/>
              <a:gd name="connsiteX9" fmla="*/ 158024 w 1715445"/>
              <a:gd name="connsiteY9" fmla="*/ 2108410 h 2189976"/>
              <a:gd name="connsiteX10" fmla="*/ 75571 w 1715445"/>
              <a:gd name="connsiteY10" fmla="*/ 2172805 h 2189976"/>
              <a:gd name="connsiteX11" fmla="*/ 0 w 1715445"/>
              <a:gd name="connsiteY11" fmla="*/ 2108410 h 2189976"/>
              <a:gd name="connsiteX12" fmla="*/ 0 w 1715445"/>
              <a:gd name="connsiteY12"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254466 w 1715445"/>
              <a:gd name="connsiteY4" fmla="*/ 2100853 h 2189976"/>
              <a:gd name="connsiteX5" fmla="*/ 992631 w 1715445"/>
              <a:gd name="connsiteY5" fmla="*/ 2103300 h 2189976"/>
              <a:gd name="connsiteX6" fmla="*/ 803493 w 1715445"/>
              <a:gd name="connsiteY6" fmla="*/ 2108410 h 2189976"/>
              <a:gd name="connsiteX7" fmla="*/ 606833 w 1715445"/>
              <a:gd name="connsiteY7" fmla="*/ 2164219 h 2189976"/>
              <a:gd name="connsiteX8" fmla="*/ 521435 w 1715445"/>
              <a:gd name="connsiteY8" fmla="*/ 2108410 h 2189976"/>
              <a:gd name="connsiteX9" fmla="*/ 370294 w 1715445"/>
              <a:gd name="connsiteY9" fmla="*/ 2189976 h 2189976"/>
              <a:gd name="connsiteX10" fmla="*/ 158024 w 1715445"/>
              <a:gd name="connsiteY10" fmla="*/ 2108410 h 2189976"/>
              <a:gd name="connsiteX11" fmla="*/ 75571 w 1715445"/>
              <a:gd name="connsiteY11" fmla="*/ 2172805 h 2189976"/>
              <a:gd name="connsiteX12" fmla="*/ 0 w 1715445"/>
              <a:gd name="connsiteY12" fmla="*/ 2108410 h 2189976"/>
              <a:gd name="connsiteX13" fmla="*/ 0 w 1715445"/>
              <a:gd name="connsiteY13"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00853 h 2189976"/>
              <a:gd name="connsiteX4" fmla="*/ 1434806 w 1715445"/>
              <a:gd name="connsiteY4" fmla="*/ 2099007 h 2189976"/>
              <a:gd name="connsiteX5" fmla="*/ 1254466 w 1715445"/>
              <a:gd name="connsiteY5" fmla="*/ 2100853 h 2189976"/>
              <a:gd name="connsiteX6" fmla="*/ 992631 w 1715445"/>
              <a:gd name="connsiteY6" fmla="*/ 2103300 h 2189976"/>
              <a:gd name="connsiteX7" fmla="*/ 803493 w 1715445"/>
              <a:gd name="connsiteY7" fmla="*/ 2108410 h 2189976"/>
              <a:gd name="connsiteX8" fmla="*/ 606833 w 1715445"/>
              <a:gd name="connsiteY8" fmla="*/ 2164219 h 2189976"/>
              <a:gd name="connsiteX9" fmla="*/ 521435 w 1715445"/>
              <a:gd name="connsiteY9" fmla="*/ 2108410 h 2189976"/>
              <a:gd name="connsiteX10" fmla="*/ 370294 w 1715445"/>
              <a:gd name="connsiteY10" fmla="*/ 2189976 h 2189976"/>
              <a:gd name="connsiteX11" fmla="*/ 158024 w 1715445"/>
              <a:gd name="connsiteY11" fmla="*/ 2108410 h 2189976"/>
              <a:gd name="connsiteX12" fmla="*/ 75571 w 1715445"/>
              <a:gd name="connsiteY12" fmla="*/ 2172805 h 2189976"/>
              <a:gd name="connsiteX13" fmla="*/ 0 w 1715445"/>
              <a:gd name="connsiteY13" fmla="*/ 2108410 h 2189976"/>
              <a:gd name="connsiteX14" fmla="*/ 0 w 1715445"/>
              <a:gd name="connsiteY14"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254466 w 1715445"/>
              <a:gd name="connsiteY5" fmla="*/ 2100853 h 2189976"/>
              <a:gd name="connsiteX6" fmla="*/ 992631 w 1715445"/>
              <a:gd name="connsiteY6" fmla="*/ 2103300 h 2189976"/>
              <a:gd name="connsiteX7" fmla="*/ 803493 w 1715445"/>
              <a:gd name="connsiteY7" fmla="*/ 2108410 h 2189976"/>
              <a:gd name="connsiteX8" fmla="*/ 606833 w 1715445"/>
              <a:gd name="connsiteY8" fmla="*/ 2164219 h 2189976"/>
              <a:gd name="connsiteX9" fmla="*/ 521435 w 1715445"/>
              <a:gd name="connsiteY9" fmla="*/ 2108410 h 2189976"/>
              <a:gd name="connsiteX10" fmla="*/ 370294 w 1715445"/>
              <a:gd name="connsiteY10" fmla="*/ 2189976 h 2189976"/>
              <a:gd name="connsiteX11" fmla="*/ 158024 w 1715445"/>
              <a:gd name="connsiteY11" fmla="*/ 2108410 h 2189976"/>
              <a:gd name="connsiteX12" fmla="*/ 75571 w 1715445"/>
              <a:gd name="connsiteY12" fmla="*/ 2172805 h 2189976"/>
              <a:gd name="connsiteX13" fmla="*/ 0 w 1715445"/>
              <a:gd name="connsiteY13" fmla="*/ 2108410 h 2189976"/>
              <a:gd name="connsiteX14" fmla="*/ 0 w 1715445"/>
              <a:gd name="connsiteY14"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168607 w 1715445"/>
              <a:gd name="connsiteY5" fmla="*/ 2165248 h 2189976"/>
              <a:gd name="connsiteX6" fmla="*/ 992631 w 1715445"/>
              <a:gd name="connsiteY6" fmla="*/ 2103300 h 2189976"/>
              <a:gd name="connsiteX7" fmla="*/ 803493 w 1715445"/>
              <a:gd name="connsiteY7" fmla="*/ 2108410 h 2189976"/>
              <a:gd name="connsiteX8" fmla="*/ 606833 w 1715445"/>
              <a:gd name="connsiteY8" fmla="*/ 2164219 h 2189976"/>
              <a:gd name="connsiteX9" fmla="*/ 521435 w 1715445"/>
              <a:gd name="connsiteY9" fmla="*/ 2108410 h 2189976"/>
              <a:gd name="connsiteX10" fmla="*/ 370294 w 1715445"/>
              <a:gd name="connsiteY10" fmla="*/ 2189976 h 2189976"/>
              <a:gd name="connsiteX11" fmla="*/ 158024 w 1715445"/>
              <a:gd name="connsiteY11" fmla="*/ 2108410 h 2189976"/>
              <a:gd name="connsiteX12" fmla="*/ 75571 w 1715445"/>
              <a:gd name="connsiteY12" fmla="*/ 2172805 h 2189976"/>
              <a:gd name="connsiteX13" fmla="*/ 0 w 1715445"/>
              <a:gd name="connsiteY13" fmla="*/ 2108410 h 2189976"/>
              <a:gd name="connsiteX14" fmla="*/ 0 w 1715445"/>
              <a:gd name="connsiteY14"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168607 w 1715445"/>
              <a:gd name="connsiteY5" fmla="*/ 2165248 h 2189976"/>
              <a:gd name="connsiteX6" fmla="*/ 992631 w 1715445"/>
              <a:gd name="connsiteY6" fmla="*/ 2103300 h 2189976"/>
              <a:gd name="connsiteX7" fmla="*/ 872429 w 1715445"/>
              <a:gd name="connsiteY7" fmla="*/ 2103300 h 2189976"/>
              <a:gd name="connsiteX8" fmla="*/ 803493 w 1715445"/>
              <a:gd name="connsiteY8" fmla="*/ 2108410 h 2189976"/>
              <a:gd name="connsiteX9" fmla="*/ 606833 w 1715445"/>
              <a:gd name="connsiteY9" fmla="*/ 2164219 h 2189976"/>
              <a:gd name="connsiteX10" fmla="*/ 521435 w 1715445"/>
              <a:gd name="connsiteY10" fmla="*/ 2108410 h 2189976"/>
              <a:gd name="connsiteX11" fmla="*/ 370294 w 1715445"/>
              <a:gd name="connsiteY11" fmla="*/ 2189976 h 2189976"/>
              <a:gd name="connsiteX12" fmla="*/ 158024 w 1715445"/>
              <a:gd name="connsiteY12" fmla="*/ 2108410 h 2189976"/>
              <a:gd name="connsiteX13" fmla="*/ 75571 w 1715445"/>
              <a:gd name="connsiteY13" fmla="*/ 2172805 h 2189976"/>
              <a:gd name="connsiteX14" fmla="*/ 0 w 1715445"/>
              <a:gd name="connsiteY14" fmla="*/ 2108410 h 2189976"/>
              <a:gd name="connsiteX15" fmla="*/ 0 w 1715445"/>
              <a:gd name="connsiteY15" fmla="*/ 0 h 2189976"/>
              <a:gd name="connsiteX0" fmla="*/ 0 w 1715445"/>
              <a:gd name="connsiteY0" fmla="*/ 0 h 2189976"/>
              <a:gd name="connsiteX1" fmla="*/ 1715445 w 1715445"/>
              <a:gd name="connsiteY1" fmla="*/ 0 h 2189976"/>
              <a:gd name="connsiteX2" fmla="*/ 1715445 w 1715445"/>
              <a:gd name="connsiteY2" fmla="*/ 2108410 h 2189976"/>
              <a:gd name="connsiteX3" fmla="*/ 1541633 w 1715445"/>
              <a:gd name="connsiteY3" fmla="*/ 2160955 h 2189976"/>
              <a:gd name="connsiteX4" fmla="*/ 1434806 w 1715445"/>
              <a:gd name="connsiteY4" fmla="*/ 2099007 h 2189976"/>
              <a:gd name="connsiteX5" fmla="*/ 1168607 w 1715445"/>
              <a:gd name="connsiteY5" fmla="*/ 2165248 h 2189976"/>
              <a:gd name="connsiteX6" fmla="*/ 992631 w 1715445"/>
              <a:gd name="connsiteY6" fmla="*/ 2103300 h 2189976"/>
              <a:gd name="connsiteX7" fmla="*/ 932530 w 1715445"/>
              <a:gd name="connsiteY7" fmla="*/ 2180574 h 2189976"/>
              <a:gd name="connsiteX8" fmla="*/ 803493 w 1715445"/>
              <a:gd name="connsiteY8" fmla="*/ 2108410 h 2189976"/>
              <a:gd name="connsiteX9" fmla="*/ 606833 w 1715445"/>
              <a:gd name="connsiteY9" fmla="*/ 2164219 h 2189976"/>
              <a:gd name="connsiteX10" fmla="*/ 521435 w 1715445"/>
              <a:gd name="connsiteY10" fmla="*/ 2108410 h 2189976"/>
              <a:gd name="connsiteX11" fmla="*/ 370294 w 1715445"/>
              <a:gd name="connsiteY11" fmla="*/ 2189976 h 2189976"/>
              <a:gd name="connsiteX12" fmla="*/ 158024 w 1715445"/>
              <a:gd name="connsiteY12" fmla="*/ 2108410 h 2189976"/>
              <a:gd name="connsiteX13" fmla="*/ 75571 w 1715445"/>
              <a:gd name="connsiteY13" fmla="*/ 2172805 h 2189976"/>
              <a:gd name="connsiteX14" fmla="*/ 0 w 1715445"/>
              <a:gd name="connsiteY14" fmla="*/ 2108410 h 2189976"/>
              <a:gd name="connsiteX15" fmla="*/ 0 w 1715445"/>
              <a:gd name="connsiteY15" fmla="*/ 0 h 2189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5445" h="2189976">
                <a:moveTo>
                  <a:pt x="0" y="0"/>
                </a:moveTo>
                <a:lnTo>
                  <a:pt x="1715445" y="0"/>
                </a:lnTo>
                <a:lnTo>
                  <a:pt x="1715445" y="2108410"/>
                </a:lnTo>
                <a:lnTo>
                  <a:pt x="1541633" y="2160955"/>
                </a:lnTo>
                <a:lnTo>
                  <a:pt x="1434806" y="2099007"/>
                </a:lnTo>
                <a:lnTo>
                  <a:pt x="1168607" y="2165248"/>
                </a:lnTo>
                <a:lnTo>
                  <a:pt x="992631" y="2103300"/>
                </a:lnTo>
                <a:lnTo>
                  <a:pt x="932530" y="2180574"/>
                </a:lnTo>
                <a:lnTo>
                  <a:pt x="803493" y="2108410"/>
                </a:lnTo>
                <a:lnTo>
                  <a:pt x="606833" y="2164219"/>
                </a:lnTo>
                <a:lnTo>
                  <a:pt x="521435" y="2108410"/>
                </a:lnTo>
                <a:lnTo>
                  <a:pt x="370294" y="2189976"/>
                </a:lnTo>
                <a:lnTo>
                  <a:pt x="158024" y="2108410"/>
                </a:lnTo>
                <a:lnTo>
                  <a:pt x="75571" y="2172805"/>
                </a:lnTo>
                <a:lnTo>
                  <a:pt x="0" y="2108410"/>
                </a:lnTo>
                <a:lnTo>
                  <a:pt x="0" y="0"/>
                </a:lnTo>
                <a:close/>
              </a:path>
            </a:pathLst>
          </a:custGeom>
          <a:solidFill>
            <a:schemeClr val="bg1"/>
          </a:solidFill>
          <a:ln w="6350" cap="flat" cmpd="sng" algn="ctr">
            <a:solidFill>
              <a:schemeClr val="tx1"/>
            </a:solidFill>
            <a:prstDash val="solid"/>
            <a:miter lim="800000"/>
            <a:headEnd type="none" w="med" len="med"/>
            <a:tailEnd type="none" w="med" len="med"/>
          </a:ln>
          <a:effectLst/>
        </p:spPr>
        <p:txBody>
          <a:bodyPr vert="horz" wrap="square" lIns="45720" tIns="45720" rIns="45720" bIns="45720" numCol="1" rtlCol="0" anchor="t" anchorCtr="0" compatLnSpc="1">
            <a:prstTxWarp prst="textNoShape">
              <a:avLst/>
            </a:prstTxWarp>
            <a:noAutofit/>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E5E5E5"/>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9A8D4CA-34C8-4C31-BAA3-BF2EE46AE1E3}"/>
              </a:ext>
            </a:extLst>
          </p:cNvPr>
          <p:cNvSpPr txBox="1"/>
          <p:nvPr/>
        </p:nvSpPr>
        <p:spPr bwMode="gray">
          <a:xfrm>
            <a:off x="990067" y="2526205"/>
            <a:ext cx="5201414" cy="186204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Sample questionnair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1" u="none" strike="noStrike" kern="1200" cap="none" spc="0" normalizeH="0" baseline="0" noProof="0">
                <a:ln>
                  <a:noFill/>
                </a:ln>
                <a:solidFill>
                  <a:srgbClr val="222A30"/>
                </a:solidFill>
                <a:effectLst/>
                <a:uLnTx/>
                <a:uFillTx/>
                <a:latin typeface="Arial" panose="020B0604020202020204"/>
                <a:ea typeface="+mn-ea"/>
                <a:cs typeface="+mn-cs"/>
              </a:rPr>
              <a:t>How do you access the Internet at hom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1" u="none" strike="noStrike" kern="1200" cap="none" spc="0" normalizeH="0" baseline="0" noProof="0">
                <a:ln>
                  <a:noFill/>
                </a:ln>
                <a:solidFill>
                  <a:srgbClr val="222A30"/>
                </a:solidFill>
                <a:effectLst/>
                <a:uLnTx/>
                <a:uFillTx/>
                <a:latin typeface="Arial" panose="020B0604020202020204"/>
                <a:ea typeface="+mn-ea"/>
                <a:cs typeface="+mn-cs"/>
              </a:rPr>
              <a:t>Which devices do you currently use for the Internet at hom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1" u="none" strike="noStrike" kern="1200" cap="none" spc="0" normalizeH="0" baseline="0" noProof="0">
                <a:ln>
                  <a:noFill/>
                </a:ln>
                <a:solidFill>
                  <a:srgbClr val="222A30"/>
                </a:solidFill>
                <a:effectLst/>
                <a:uLnTx/>
                <a:uFillTx/>
                <a:latin typeface="Arial" panose="020B0604020202020204"/>
                <a:ea typeface="+mn-ea"/>
                <a:cs typeface="+mn-cs"/>
              </a:rPr>
              <a:t>How confident do you feel about doing the following tasks without any help? (send an email, look for information, complete an online form) </a:t>
            </a:r>
          </a:p>
        </p:txBody>
      </p:sp>
      <p:sp>
        <p:nvSpPr>
          <p:cNvPr id="12" name="Line Callout 1 (No Border) 25">
            <a:extLst>
              <a:ext uri="{FF2B5EF4-FFF2-40B4-BE49-F238E27FC236}">
                <a16:creationId xmlns:a16="http://schemas.microsoft.com/office/drawing/2014/main" id="{0879EE7F-9905-4E29-B04C-B8DCC98C18C5}"/>
              </a:ext>
            </a:extLst>
          </p:cNvPr>
          <p:cNvSpPr/>
          <p:nvPr/>
        </p:nvSpPr>
        <p:spPr bwMode="gray">
          <a:xfrm>
            <a:off x="6899296" y="2314965"/>
            <a:ext cx="4679929" cy="1688375"/>
          </a:xfrm>
          <a:custGeom>
            <a:avLst/>
            <a:gdLst>
              <a:gd name="connsiteX0" fmla="*/ 0 w 2481943"/>
              <a:gd name="connsiteY0" fmla="*/ 0 h 818173"/>
              <a:gd name="connsiteX1" fmla="*/ 2481943 w 2481943"/>
              <a:gd name="connsiteY1" fmla="*/ 0 h 818173"/>
              <a:gd name="connsiteX2" fmla="*/ 2481943 w 2481943"/>
              <a:gd name="connsiteY2" fmla="*/ 818173 h 818173"/>
              <a:gd name="connsiteX3" fmla="*/ 0 w 2481943"/>
              <a:gd name="connsiteY3" fmla="*/ 818173 h 818173"/>
              <a:gd name="connsiteX4" fmla="*/ 0 w 2481943"/>
              <a:gd name="connsiteY4" fmla="*/ 0 h 818173"/>
              <a:gd name="connsiteX0" fmla="*/ 17597 w 2481943"/>
              <a:gd name="connsiteY0" fmla="*/ -425 h 818173"/>
              <a:gd name="connsiteX1" fmla="*/ 17473 w 2481943"/>
              <a:gd name="connsiteY1" fmla="*/ 818238 h 818173"/>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9174 w 2483520"/>
              <a:gd name="connsiteY0" fmla="*/ 0 h 818663"/>
              <a:gd name="connsiteX1" fmla="*/ 0 w 2483520"/>
              <a:gd name="connsiteY1" fmla="*/ 818663 h 818663"/>
              <a:gd name="connsiteX0" fmla="*/ 1577 w 2483520"/>
              <a:gd name="connsiteY0" fmla="*/ 5187 h 823425"/>
              <a:gd name="connsiteX1" fmla="*/ 2483520 w 2483520"/>
              <a:gd name="connsiteY1" fmla="*/ 5187 h 823425"/>
              <a:gd name="connsiteX2" fmla="*/ 2483520 w 2483520"/>
              <a:gd name="connsiteY2" fmla="*/ 823360 h 823425"/>
              <a:gd name="connsiteX3" fmla="*/ 1577 w 2483520"/>
              <a:gd name="connsiteY3" fmla="*/ 823360 h 823425"/>
              <a:gd name="connsiteX4" fmla="*/ 1577 w 2483520"/>
              <a:gd name="connsiteY4" fmla="*/ 5187 h 823425"/>
              <a:gd name="connsiteX0" fmla="*/ 2505 w 2483520"/>
              <a:gd name="connsiteY0" fmla="*/ 0 h 823425"/>
              <a:gd name="connsiteX1" fmla="*/ 0 w 2483520"/>
              <a:gd name="connsiteY1" fmla="*/ 823425 h 823425"/>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2505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24 w 2483520"/>
              <a:gd name="connsiteY0" fmla="*/ 0 h 818663"/>
              <a:gd name="connsiteX1" fmla="*/ 0 w 2483520"/>
              <a:gd name="connsiteY1" fmla="*/ 818663 h 818663"/>
            </a:gdLst>
            <a:ahLst/>
            <a:cxnLst>
              <a:cxn ang="0">
                <a:pos x="connsiteX0" y="connsiteY0"/>
              </a:cxn>
              <a:cxn ang="0">
                <a:pos x="connsiteX1" y="connsiteY1"/>
              </a:cxn>
            </a:cxnLst>
            <a:rect l="l" t="t" r="r" b="b"/>
            <a:pathLst>
              <a:path w="2483520" h="818663" stroke="0" extrusionOk="0">
                <a:moveTo>
                  <a:pt x="1577" y="425"/>
                </a:moveTo>
                <a:lnTo>
                  <a:pt x="2483520" y="425"/>
                </a:lnTo>
                <a:lnTo>
                  <a:pt x="2483520" y="818598"/>
                </a:lnTo>
                <a:lnTo>
                  <a:pt x="1577" y="818598"/>
                </a:lnTo>
                <a:lnTo>
                  <a:pt x="1577" y="425"/>
                </a:lnTo>
                <a:close/>
              </a:path>
              <a:path w="2483520" h="818663" fill="none" extrusionOk="0">
                <a:moveTo>
                  <a:pt x="124" y="0"/>
                </a:moveTo>
                <a:cubicBezTo>
                  <a:pt x="83" y="272888"/>
                  <a:pt x="41" y="545775"/>
                  <a:pt x="0" y="818663"/>
                </a:cubicBezTo>
              </a:path>
            </a:pathLst>
          </a:custGeom>
          <a:solidFill>
            <a:schemeClr val="bg2"/>
          </a:solidFill>
          <a:ln w="508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195943" rIns="195943" bIns="195943"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222A30"/>
                </a:solidFill>
                <a:effectLst/>
                <a:uLnTx/>
                <a:uFillTx/>
                <a:latin typeface="Arial" panose="020B0604020202020204"/>
                <a:ea typeface="+mn-ea"/>
                <a:cs typeface="+mn-cs"/>
              </a:rPr>
              <a:t>Stakeholders can get data at different points in the care journey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222A30"/>
                </a:solidFill>
                <a:effectLst/>
                <a:uLnTx/>
                <a:uFillTx/>
                <a:latin typeface="Arial" panose="020B0604020202020204"/>
                <a:ea typeface="+mn-ea"/>
                <a:cs typeface="+mn-cs"/>
              </a:rPr>
              <a:t>Payers</a:t>
            </a: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 add questions for member onboard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222A30"/>
                </a:solidFill>
                <a:effectLst/>
                <a:uLnTx/>
                <a:uFillTx/>
                <a:latin typeface="Arial" panose="020B0604020202020204"/>
                <a:ea typeface="+mn-ea"/>
                <a:cs typeface="+mn-cs"/>
              </a:rPr>
              <a:t>Providers:</a:t>
            </a: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 monitor ED admissions and add questions to all intake/discharge forms </a:t>
            </a:r>
          </a:p>
        </p:txBody>
      </p:sp>
      <p:cxnSp>
        <p:nvCxnSpPr>
          <p:cNvPr id="16" name="Straight Connector 15">
            <a:extLst>
              <a:ext uri="{FF2B5EF4-FFF2-40B4-BE49-F238E27FC236}">
                <a16:creationId xmlns:a16="http://schemas.microsoft.com/office/drawing/2014/main" id="{75CB9AA1-6852-4546-A0ED-DCF5EAD7B1F7}"/>
              </a:ext>
            </a:extLst>
          </p:cNvPr>
          <p:cNvCxnSpPr>
            <a:cxnSpLocks/>
          </p:cNvCxnSpPr>
          <p:nvPr/>
        </p:nvCxnSpPr>
        <p:spPr bwMode="gray">
          <a:xfrm>
            <a:off x="1229264" y="4480332"/>
            <a:ext cx="4866736" cy="0"/>
          </a:xfrm>
          <a:prstGeom prst="line">
            <a:avLst/>
          </a:prstGeom>
          <a:ln w="19050">
            <a:solidFill>
              <a:schemeClr val="accent2"/>
            </a:solidFill>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59571E9-5DA5-44A4-B1ED-BE686778119B}"/>
              </a:ext>
            </a:extLst>
          </p:cNvPr>
          <p:cNvSpPr txBox="1"/>
          <p:nvPr/>
        </p:nvSpPr>
        <p:spPr bwMode="gray">
          <a:xfrm>
            <a:off x="990066" y="4659663"/>
            <a:ext cx="5418005" cy="1400383"/>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222A30"/>
                </a:solidFill>
                <a:effectLst/>
                <a:uLnTx/>
                <a:uFillTx/>
                <a:latin typeface="Arial" panose="020B0604020202020204"/>
                <a:ea typeface="+mn-ea"/>
                <a:cs typeface="+mn-cs"/>
              </a:rPr>
              <a:t>Example resourc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222A30"/>
                </a:solidFill>
                <a:effectLst/>
                <a:uLnTx/>
                <a:uFillTx/>
                <a:latin typeface="Arial" panose="020B0604020202020204"/>
                <a:ea typeface="+mn-ea"/>
                <a:cs typeface="+mn-cs"/>
              </a:rPr>
              <a:t>Intake forms: </a:t>
            </a:r>
            <a:r>
              <a:rPr kumimoji="0" lang="en-US" sz="1500" b="0" i="0" u="sng" strike="noStrike" kern="1200" cap="none" spc="0" normalizeH="0" baseline="0" noProof="0">
                <a:ln>
                  <a:noFill/>
                </a:ln>
                <a:solidFill>
                  <a:srgbClr val="222A30"/>
                </a:solidFill>
                <a:effectLst/>
                <a:uLnTx/>
                <a:uFillTx/>
                <a:latin typeface="Arial" panose="020B0604020202020204"/>
                <a:ea typeface="+mn-ea"/>
                <a:cs typeface="+mn-cs"/>
                <a:hlinkClick r:id="rId3"/>
              </a:rPr>
              <a:t>San Francisco Digital Equity Intake Form</a:t>
            </a:r>
            <a:endParaRPr kumimoji="0" lang="en-US" sz="1500" b="0" i="0" u="sng" strike="noStrike" kern="1200" cap="none" spc="0" normalizeH="0" baseline="0" noProof="0">
              <a:ln>
                <a:noFill/>
              </a:ln>
              <a:solidFill>
                <a:srgbClr val="222A3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222A30"/>
                </a:solidFill>
                <a:effectLst/>
                <a:uLnTx/>
                <a:uFillTx/>
                <a:latin typeface="Arial" panose="020B0604020202020204"/>
                <a:ea typeface="+mn-ea"/>
                <a:cs typeface="+mn-cs"/>
              </a:rPr>
              <a:t>Digital literacy assessments: </a:t>
            </a:r>
            <a:r>
              <a:rPr kumimoji="0" lang="en-US" sz="1500" b="0" i="0" u="none" strike="noStrike" kern="1200" cap="none" spc="0" normalizeH="0" baseline="0" noProof="0">
                <a:ln>
                  <a:noFill/>
                </a:ln>
                <a:solidFill>
                  <a:srgbClr val="222A3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Northstar’s Essential Computer Skills Assessment</a:t>
            </a:r>
            <a:endParaRPr kumimoji="0" lang="en-US" sz="1500" b="0" i="0" u="none" strike="noStrike" kern="1200" cap="none" spc="0" normalizeH="0" baseline="0" noProof="0">
              <a:ln>
                <a:noFill/>
              </a:ln>
              <a:solidFill>
                <a:srgbClr val="222A3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373149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1C85A2-3A06-A245-A7DA-00E21E49C9F2}"/>
              </a:ext>
            </a:extLst>
          </p:cNvPr>
          <p:cNvSpPr/>
          <p:nvPr/>
        </p:nvSpPr>
        <p:spPr bwMode="gray">
          <a:xfrm>
            <a:off x="6913936" y="966158"/>
            <a:ext cx="4346762" cy="4495553"/>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4" name="Picture 23">
            <a:extLst>
              <a:ext uri="{FF2B5EF4-FFF2-40B4-BE49-F238E27FC236}">
                <a16:creationId xmlns:a16="http://schemas.microsoft.com/office/drawing/2014/main" id="{B8CE3525-51E0-2F40-80AD-CE8F259EA2D8}"/>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0" y="966158"/>
            <a:ext cx="11260697" cy="1801939"/>
          </a:xfrm>
          <a:prstGeom prst="rect">
            <a:avLst/>
          </a:prstGeom>
        </p:spPr>
      </p:pic>
      <p:pic>
        <p:nvPicPr>
          <p:cNvPr id="25" name="Picture 24">
            <a:extLst>
              <a:ext uri="{FF2B5EF4-FFF2-40B4-BE49-F238E27FC236}">
                <a16:creationId xmlns:a16="http://schemas.microsoft.com/office/drawing/2014/main" id="{FEC52CCA-18B9-754D-8B92-CBA80E0902C7}"/>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bwMode="gray">
          <a:xfrm rot="10800000">
            <a:off x="-4" y="3662329"/>
            <a:ext cx="11260695" cy="1801939"/>
          </a:xfrm>
          <a:prstGeom prst="rect">
            <a:avLst/>
          </a:prstGeom>
        </p:spPr>
      </p:pic>
      <p:grpSp>
        <p:nvGrpSpPr>
          <p:cNvPr id="3" name="Group 2">
            <a:extLst>
              <a:ext uri="{FF2B5EF4-FFF2-40B4-BE49-F238E27FC236}">
                <a16:creationId xmlns:a16="http://schemas.microsoft.com/office/drawing/2014/main" id="{F6AD17A4-A00E-4CF7-979F-A3D54762FD13}"/>
              </a:ext>
            </a:extLst>
          </p:cNvPr>
          <p:cNvGrpSpPr/>
          <p:nvPr/>
        </p:nvGrpSpPr>
        <p:grpSpPr>
          <a:xfrm>
            <a:off x="7222487" y="1534973"/>
            <a:ext cx="3696106" cy="577637"/>
            <a:chOff x="7222488" y="1739900"/>
            <a:chExt cx="3696106" cy="577637"/>
          </a:xfrm>
        </p:grpSpPr>
        <p:sp>
          <p:nvSpPr>
            <p:cNvPr id="5" name="Text Placeholder 56">
              <a:extLst>
                <a:ext uri="{FF2B5EF4-FFF2-40B4-BE49-F238E27FC236}">
                  <a16:creationId xmlns:a16="http://schemas.microsoft.com/office/drawing/2014/main" id="{03DD7128-283B-429F-89C4-938C415658A0}"/>
                </a:ext>
              </a:extLst>
            </p:cNvPr>
            <p:cNvSpPr txBox="1">
              <a:spLocks/>
            </p:cNvSpPr>
            <p:nvPr/>
          </p:nvSpPr>
          <p:spPr bwMode="gray">
            <a:xfrm>
              <a:off x="7612096" y="1777609"/>
              <a:ext cx="2341131" cy="184666"/>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1200" b="0" i="0" u="none" strike="noStrike" kern="1200" cap="all" spc="0" normalizeH="0" baseline="0" noProof="0">
                  <a:ln>
                    <a:noFill/>
                  </a:ln>
                  <a:solidFill>
                    <a:srgbClr val="999FA3"/>
                  </a:solidFill>
                  <a:effectLst/>
                  <a:uLnTx/>
                  <a:uFillTx/>
                  <a:latin typeface="Arial" panose="020B0604020202020204"/>
                  <a:ea typeface="+mn-ea"/>
                  <a:cs typeface="+mn-cs"/>
                </a:rPr>
                <a:t>CHEAT SHEET</a:t>
              </a:r>
            </a:p>
          </p:txBody>
        </p:sp>
        <p:sp>
          <p:nvSpPr>
            <p:cNvPr id="6" name="Text Placeholder 60">
              <a:extLst>
                <a:ext uri="{FF2B5EF4-FFF2-40B4-BE49-F238E27FC236}">
                  <a16:creationId xmlns:a16="http://schemas.microsoft.com/office/drawing/2014/main" id="{5AD75C88-2E1B-423A-BF23-9D783B792882}"/>
                </a:ext>
              </a:extLst>
            </p:cNvPr>
            <p:cNvSpPr txBox="1">
              <a:spLocks/>
            </p:cNvSpPr>
            <p:nvPr/>
          </p:nvSpPr>
          <p:spPr bwMode="gray">
            <a:xfrm>
              <a:off x="7612095" y="1948205"/>
              <a:ext cx="3306499" cy="369332"/>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Times New Roman" panose="02020603050405020304"/>
                  <a:ea typeface="+mn-ea"/>
                  <a:cs typeface="+mn-cs"/>
                  <a:hlinkClick r:id="rId4">
                    <a:extLst>
                      <a:ext uri="{A12FA001-AC4F-418D-AE19-62706E023703}">
                        <ahyp:hlinkClr xmlns:ahyp="http://schemas.microsoft.com/office/drawing/2018/hyperlinkcolor" val="tx"/>
                      </a:ext>
                    </a:extLst>
                  </a:hlinkClick>
                </a:rPr>
                <a:t>Digital inequity</a:t>
              </a:r>
              <a:endParaRPr kumimoji="0" lang="en-US" sz="2400" b="0" i="0" u="none" strike="noStrike" kern="1200" cap="none" spc="0" normalizeH="0" baseline="0" noProof="0">
                <a:ln>
                  <a:noFill/>
                </a:ln>
                <a:solidFill>
                  <a:srgbClr val="FFFFFF"/>
                </a:solidFill>
                <a:effectLst/>
                <a:uLnTx/>
                <a:uFillTx/>
                <a:latin typeface="Times New Roman" panose="02020603050405020304"/>
                <a:ea typeface="+mn-ea"/>
                <a:cs typeface="+mn-cs"/>
              </a:endParaRPr>
            </a:p>
          </p:txBody>
        </p:sp>
        <p:sp>
          <p:nvSpPr>
            <p:cNvPr id="7" name="Parallelogram 6">
              <a:extLst>
                <a:ext uri="{FF2B5EF4-FFF2-40B4-BE49-F238E27FC236}">
                  <a16:creationId xmlns:a16="http://schemas.microsoft.com/office/drawing/2014/main" id="{055D4E41-DD75-43D1-BB3D-E7056B2A34AD}"/>
                </a:ext>
              </a:extLst>
            </p:cNvPr>
            <p:cNvSpPr>
              <a:spLocks noChangeAspect="1"/>
            </p:cNvSpPr>
            <p:nvPr/>
          </p:nvSpPr>
          <p:spPr bwMode="gray">
            <a:xfrm flipH="1">
              <a:off x="7222488" y="1739900"/>
              <a:ext cx="274878" cy="215444"/>
            </a:xfrm>
            <a:prstGeom prst="parallelogram">
              <a:avLst>
                <a:gd name="adj" fmla="val 65863"/>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 name="Group 1">
            <a:extLst>
              <a:ext uri="{FF2B5EF4-FFF2-40B4-BE49-F238E27FC236}">
                <a16:creationId xmlns:a16="http://schemas.microsoft.com/office/drawing/2014/main" id="{2C7A0182-1C94-48FD-BFB5-F6B3875B43B4}"/>
              </a:ext>
            </a:extLst>
          </p:cNvPr>
          <p:cNvGrpSpPr/>
          <p:nvPr/>
        </p:nvGrpSpPr>
        <p:grpSpPr>
          <a:xfrm>
            <a:off x="7222488" y="3120970"/>
            <a:ext cx="2730739" cy="577637"/>
            <a:chOff x="7222488" y="2492684"/>
            <a:chExt cx="2730739" cy="577637"/>
          </a:xfrm>
        </p:grpSpPr>
        <p:sp>
          <p:nvSpPr>
            <p:cNvPr id="9" name="Text Placeholder 56">
              <a:extLst>
                <a:ext uri="{FF2B5EF4-FFF2-40B4-BE49-F238E27FC236}">
                  <a16:creationId xmlns:a16="http://schemas.microsoft.com/office/drawing/2014/main" id="{321B814B-A0F3-4DDB-BF8B-746BFB1ABCB6}"/>
                </a:ext>
              </a:extLst>
            </p:cNvPr>
            <p:cNvSpPr txBox="1">
              <a:spLocks/>
            </p:cNvSpPr>
            <p:nvPr/>
          </p:nvSpPr>
          <p:spPr bwMode="gray">
            <a:xfrm>
              <a:off x="7612096" y="2530393"/>
              <a:ext cx="2341131" cy="184666"/>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1200" b="0" i="0" u="none" strike="noStrike" kern="1200" cap="all" spc="0" normalizeH="0" baseline="0" noProof="0">
                  <a:ln>
                    <a:noFill/>
                  </a:ln>
                  <a:solidFill>
                    <a:srgbClr val="999FA3"/>
                  </a:solidFill>
                  <a:effectLst/>
                  <a:uLnTx/>
                  <a:uFillTx/>
                  <a:latin typeface="Arial" panose="020B0604020202020204"/>
                  <a:ea typeface="+mn-ea"/>
                  <a:cs typeface="+mn-cs"/>
                </a:rPr>
                <a:t>Cheat sheet</a:t>
              </a:r>
            </a:p>
          </p:txBody>
        </p:sp>
        <p:sp>
          <p:nvSpPr>
            <p:cNvPr id="10" name="Text Placeholder 60">
              <a:extLst>
                <a:ext uri="{FF2B5EF4-FFF2-40B4-BE49-F238E27FC236}">
                  <a16:creationId xmlns:a16="http://schemas.microsoft.com/office/drawing/2014/main" id="{4560C2A4-9E09-43C4-B491-B33FCF5DE160}"/>
                </a:ext>
              </a:extLst>
            </p:cNvPr>
            <p:cNvSpPr txBox="1">
              <a:spLocks/>
            </p:cNvSpPr>
            <p:nvPr/>
          </p:nvSpPr>
          <p:spPr bwMode="gray">
            <a:xfrm>
              <a:off x="7612095" y="2700989"/>
              <a:ext cx="2341131" cy="369332"/>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Times New Roman" panose="02020603050405020304"/>
                  <a:ea typeface="+mn-ea"/>
                  <a:cs typeface="+mn-cs"/>
                </a:rPr>
                <a:t>Digital literacy</a:t>
              </a:r>
            </a:p>
          </p:txBody>
        </p:sp>
        <p:sp>
          <p:nvSpPr>
            <p:cNvPr id="11" name="Parallelogram 10">
              <a:extLst>
                <a:ext uri="{FF2B5EF4-FFF2-40B4-BE49-F238E27FC236}">
                  <a16:creationId xmlns:a16="http://schemas.microsoft.com/office/drawing/2014/main" id="{6AF313DB-E682-4462-84E6-80D46706D0D4}"/>
                </a:ext>
              </a:extLst>
            </p:cNvPr>
            <p:cNvSpPr>
              <a:spLocks noChangeAspect="1"/>
            </p:cNvSpPr>
            <p:nvPr/>
          </p:nvSpPr>
          <p:spPr bwMode="gray">
            <a:xfrm flipH="1">
              <a:off x="7222488" y="2492684"/>
              <a:ext cx="274878" cy="215444"/>
            </a:xfrm>
            <a:prstGeom prst="parallelogram">
              <a:avLst>
                <a:gd name="adj" fmla="val 65863"/>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3" name="Text Placeholder 1">
            <a:extLst>
              <a:ext uri="{FF2B5EF4-FFF2-40B4-BE49-F238E27FC236}">
                <a16:creationId xmlns:a16="http://schemas.microsoft.com/office/drawing/2014/main" id="{DA5BFE19-D0A2-1042-B8CE-82C917B1F7ED}"/>
              </a:ext>
            </a:extLst>
          </p:cNvPr>
          <p:cNvSpPr txBox="1">
            <a:spLocks/>
          </p:cNvSpPr>
          <p:nvPr/>
        </p:nvSpPr>
        <p:spPr bwMode="gray">
          <a:xfrm>
            <a:off x="891071" y="1739900"/>
            <a:ext cx="5483225" cy="2769989"/>
          </a:xfrm>
          <a:prstGeom prst="rect">
            <a:avLst/>
          </a:prstGeom>
        </p:spPr>
        <p:txBody>
          <a:bodyPr vert="horz" wrap="square" lIns="0" tIns="0" rIns="0" bIns="0" rtlCol="0" anchor="t" anchorCtr="0">
            <a:spAutoFit/>
          </a:bodyPr>
          <a:lstStyle>
            <a:lvl1pPr marL="0" indent="0" algn="l" defTabSz="914400" rtl="0" eaLnBrk="1" fontAlgn="ctr" latinLnBrk="0" hangingPunct="1">
              <a:lnSpc>
                <a:spcPct val="100000"/>
              </a:lnSpc>
              <a:spcBef>
                <a:spcPts val="0"/>
              </a:spcBef>
              <a:buClr>
                <a:schemeClr val="accent6"/>
              </a:buClr>
              <a:buFont typeface="Arial" panose="020B0604020202020204" pitchFamily="34" charset="0"/>
              <a:buNone/>
              <a:defRPr sz="700" kern="1200" baseline="0">
                <a:solidFill>
                  <a:schemeClr val="accent3"/>
                </a:solidFill>
                <a:latin typeface="+mn-lt"/>
                <a:ea typeface="+mn-ea"/>
                <a:cs typeface="+mn-cs"/>
              </a:defRPr>
            </a:lvl1pPr>
            <a:lvl2pPr marL="1143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2pPr>
            <a:lvl3pPr marL="2286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3pPr>
            <a:lvl4pPr marL="3429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a:solidFill>
                  <a:schemeClr val="tx1"/>
                </a:solidFill>
                <a:latin typeface="+mn-lt"/>
                <a:ea typeface="+mn-ea"/>
                <a:cs typeface="+mn-cs"/>
              </a:defRPr>
            </a:lvl4pPr>
            <a:lvl5pPr marL="457200" indent="0" algn="l" defTabSz="914400" rtl="0" eaLnBrk="1" fontAlgn="ctr" latinLnBrk="0" hangingPunct="1">
              <a:lnSpc>
                <a:spcPct val="100000"/>
              </a:lnSpc>
              <a:spcBef>
                <a:spcPts val="0"/>
              </a:spcBef>
              <a:buClr>
                <a:schemeClr val="accent6"/>
              </a:buClr>
              <a:buFont typeface="Arial" panose="020B0604020202020204" pitchFamily="34" charset="0"/>
              <a:buNone/>
              <a:defRPr sz="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0"/>
              </a:spcBef>
              <a:spcAft>
                <a:spcPts val="0"/>
              </a:spcAft>
              <a:buClr>
                <a:srgbClr val="CE0E2D"/>
              </a:buClr>
              <a:buSzTx/>
              <a:buFont typeface="Arial" panose="020B0604020202020204" pitchFamily="34" charset="0"/>
              <a:buNone/>
              <a:tabLst/>
              <a:defRPr/>
            </a:pPr>
            <a:r>
              <a:rPr kumimoji="0" lang="en-US" sz="3600" b="0" i="0" u="none" strike="noStrike" kern="1200" cap="none" spc="0" normalizeH="0" baseline="0" noProof="0">
                <a:ln>
                  <a:noFill/>
                </a:ln>
                <a:solidFill>
                  <a:srgbClr val="222A30"/>
                </a:solidFill>
                <a:effectLst/>
                <a:uLnTx/>
                <a:uFillTx/>
                <a:latin typeface="Times New Roman" panose="02020603050405020304"/>
                <a:ea typeface="+mn-ea"/>
                <a:cs typeface="+mn-cs"/>
              </a:rPr>
              <a:t>More resources on addressing digital inequity across your organization.</a:t>
            </a:r>
          </a:p>
          <a:p>
            <a:pPr marL="0" marR="0" lvl="0" indent="0" algn="l" defTabSz="914400" rtl="0" eaLnBrk="1" fontAlgn="ctr" latinLnBrk="0" hangingPunct="1">
              <a:lnSpc>
                <a:spcPct val="100000"/>
              </a:lnSpc>
              <a:spcBef>
                <a:spcPts val="0"/>
              </a:spcBef>
              <a:spcAft>
                <a:spcPts val="0"/>
              </a:spcAft>
              <a:buClr>
                <a:srgbClr val="CE0E2D"/>
              </a:buClr>
              <a:buSzTx/>
              <a:buFont typeface="Arial" panose="020B0604020202020204" pitchFamily="34" charset="0"/>
              <a:buNone/>
              <a:tabLst/>
              <a:defRPr/>
            </a:pPr>
            <a:endParaRPr kumimoji="0" lang="en-US" sz="3200" b="0" i="0" u="none" strike="noStrike" kern="1200" cap="none" spc="0" normalizeH="0" baseline="0" noProof="0">
              <a:ln>
                <a:noFill/>
              </a:ln>
              <a:solidFill>
                <a:srgbClr val="323E48"/>
              </a:solidFill>
              <a:effectLst/>
              <a:uLnTx/>
              <a:uFillTx/>
              <a:latin typeface="Times New Roman" panose="02020603050405020304"/>
              <a:ea typeface="+mn-ea"/>
              <a:cs typeface="+mn-cs"/>
            </a:endParaRPr>
          </a:p>
          <a:p>
            <a:pPr marL="0" marR="0" lvl="0" indent="0" algn="l" defTabSz="914400" rtl="0" eaLnBrk="1" fontAlgn="ctr" latinLnBrk="0" hangingPunct="1">
              <a:lnSpc>
                <a:spcPct val="100000"/>
              </a:lnSpc>
              <a:spcBef>
                <a:spcPts val="0"/>
              </a:spcBef>
              <a:spcAft>
                <a:spcPts val="0"/>
              </a:spcAft>
              <a:buClr>
                <a:srgbClr val="CE0E2D"/>
              </a:buClr>
              <a:buSzTx/>
              <a:buFont typeface="Arial" panose="020B0604020202020204" pitchFamily="34" charset="0"/>
              <a:buNone/>
              <a:tabLst/>
              <a:defRPr/>
            </a:pPr>
            <a:r>
              <a:rPr kumimoji="0" lang="en-US" sz="2000" b="0" i="0" u="none" strike="noStrike" kern="1200" cap="none" spc="0" normalizeH="0" baseline="0" noProof="0">
                <a:ln>
                  <a:noFill/>
                </a:ln>
                <a:solidFill>
                  <a:srgbClr val="445460"/>
                </a:solidFill>
                <a:effectLst/>
                <a:uLnTx/>
                <a:uFillTx/>
                <a:latin typeface="Arial" panose="020B0604020202020204"/>
                <a:ea typeface="+mn-ea"/>
                <a:cs typeface="+mn-cs"/>
              </a:rPr>
              <a:t>All resources will be shared with all of today’s attendees and available on </a:t>
            </a:r>
            <a:r>
              <a:rPr kumimoji="0" lang="en-US" sz="2000" b="1" i="0" u="none" strike="noStrike" kern="1200" cap="none" spc="0" normalizeH="0" baseline="0" noProof="0">
                <a:ln>
                  <a:noFill/>
                </a:ln>
                <a:solidFill>
                  <a:srgbClr val="445460"/>
                </a:solidFill>
                <a:effectLst/>
                <a:uLnTx/>
                <a:uFillTx/>
                <a:latin typeface="Arial" panose="020B0604020202020204"/>
                <a:ea typeface="+mn-ea"/>
                <a:cs typeface="+mn-cs"/>
              </a:rPr>
              <a:t>advisory.com</a:t>
            </a:r>
          </a:p>
        </p:txBody>
      </p:sp>
      <p:grpSp>
        <p:nvGrpSpPr>
          <p:cNvPr id="16" name="Group 15">
            <a:extLst>
              <a:ext uri="{FF2B5EF4-FFF2-40B4-BE49-F238E27FC236}">
                <a16:creationId xmlns:a16="http://schemas.microsoft.com/office/drawing/2014/main" id="{6AAC55A4-20C0-4D8F-8128-0426CAE3065C}"/>
              </a:ext>
            </a:extLst>
          </p:cNvPr>
          <p:cNvGrpSpPr/>
          <p:nvPr/>
        </p:nvGrpSpPr>
        <p:grpSpPr>
          <a:xfrm>
            <a:off x="7222487" y="4068500"/>
            <a:ext cx="3428898" cy="577637"/>
            <a:chOff x="7222488" y="2492684"/>
            <a:chExt cx="3428898" cy="577637"/>
          </a:xfrm>
        </p:grpSpPr>
        <p:sp>
          <p:nvSpPr>
            <p:cNvPr id="17" name="Text Placeholder 56">
              <a:extLst>
                <a:ext uri="{FF2B5EF4-FFF2-40B4-BE49-F238E27FC236}">
                  <a16:creationId xmlns:a16="http://schemas.microsoft.com/office/drawing/2014/main" id="{765AF0CB-9AAD-4446-8456-F12CA9DE3BAC}"/>
                </a:ext>
              </a:extLst>
            </p:cNvPr>
            <p:cNvSpPr txBox="1">
              <a:spLocks/>
            </p:cNvSpPr>
            <p:nvPr/>
          </p:nvSpPr>
          <p:spPr bwMode="gray">
            <a:xfrm>
              <a:off x="7612096" y="2530393"/>
              <a:ext cx="2341131" cy="184666"/>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1200" b="0" i="0" u="none" strike="noStrike" kern="1200" cap="all" spc="0" normalizeH="0" baseline="0" noProof="0">
                  <a:ln>
                    <a:noFill/>
                  </a:ln>
                  <a:solidFill>
                    <a:srgbClr val="999FA3"/>
                  </a:solidFill>
                  <a:effectLst/>
                  <a:uLnTx/>
                  <a:uFillTx/>
                  <a:latin typeface="Arial" panose="020B0604020202020204"/>
                  <a:ea typeface="+mn-ea"/>
                  <a:cs typeface="+mn-cs"/>
                </a:rPr>
                <a:t>Our take</a:t>
              </a:r>
            </a:p>
          </p:txBody>
        </p:sp>
        <p:sp>
          <p:nvSpPr>
            <p:cNvPr id="18" name="Text Placeholder 60">
              <a:extLst>
                <a:ext uri="{FF2B5EF4-FFF2-40B4-BE49-F238E27FC236}">
                  <a16:creationId xmlns:a16="http://schemas.microsoft.com/office/drawing/2014/main" id="{0604F3AE-946C-4089-84A2-5B64CFF91C22}"/>
                </a:ext>
              </a:extLst>
            </p:cNvPr>
            <p:cNvSpPr txBox="1">
              <a:spLocks/>
            </p:cNvSpPr>
            <p:nvPr/>
          </p:nvSpPr>
          <p:spPr bwMode="gray">
            <a:xfrm>
              <a:off x="7612095" y="2700989"/>
              <a:ext cx="3039291" cy="369332"/>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Times New Roman" panose="02020603050405020304"/>
                  <a:ea typeface="+mn-ea"/>
                  <a:cs typeface="+mn-cs"/>
                </a:rPr>
                <a:t>Digital inequity </a:t>
              </a:r>
            </a:p>
          </p:txBody>
        </p:sp>
        <p:sp>
          <p:nvSpPr>
            <p:cNvPr id="19" name="Parallelogram 18">
              <a:extLst>
                <a:ext uri="{FF2B5EF4-FFF2-40B4-BE49-F238E27FC236}">
                  <a16:creationId xmlns:a16="http://schemas.microsoft.com/office/drawing/2014/main" id="{FABCA408-1BD2-4025-A49C-F26557A969DF}"/>
                </a:ext>
              </a:extLst>
            </p:cNvPr>
            <p:cNvSpPr>
              <a:spLocks noChangeAspect="1"/>
            </p:cNvSpPr>
            <p:nvPr/>
          </p:nvSpPr>
          <p:spPr bwMode="gray">
            <a:xfrm flipH="1">
              <a:off x="7222488" y="2492684"/>
              <a:ext cx="274878" cy="215444"/>
            </a:xfrm>
            <a:prstGeom prst="parallelogram">
              <a:avLst>
                <a:gd name="adj" fmla="val 65863"/>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2" name="Text Placeholder 60">
            <a:extLst>
              <a:ext uri="{FF2B5EF4-FFF2-40B4-BE49-F238E27FC236}">
                <a16:creationId xmlns:a16="http://schemas.microsoft.com/office/drawing/2014/main" id="{ECBF77C1-F33D-41DD-8B3A-73CD621F1D94}"/>
              </a:ext>
            </a:extLst>
          </p:cNvPr>
          <p:cNvSpPr txBox="1">
            <a:spLocks/>
          </p:cNvSpPr>
          <p:nvPr/>
        </p:nvSpPr>
        <p:spPr bwMode="gray">
          <a:xfrm>
            <a:off x="7062746" y="2525392"/>
            <a:ext cx="2341131" cy="369332"/>
          </a:xfrm>
          <a:prstGeom prst="rect">
            <a:avLst/>
          </a:prstGeom>
        </p:spPr>
        <p:txBody>
          <a:bodyPr wrap="square" lIns="0" tIns="0" rIns="0" bIns="0">
            <a:spAutoFit/>
          </a:bodyPr>
          <a:lstStyle>
            <a:lvl1pPr marL="112713"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1pPr>
            <a:lvl2pPr marL="230188" indent="-117475"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2pPr>
            <a:lvl3pPr marL="342900" indent="-112713"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3pPr>
            <a:lvl4pPr marL="458788" indent="-115888" algn="l" defTabSz="1018879" rtl="0" eaLnBrk="1" latinLnBrk="0" hangingPunct="1">
              <a:lnSpc>
                <a:spcPct val="100000"/>
              </a:lnSpc>
              <a:spcBef>
                <a:spcPts val="600"/>
              </a:spcBef>
              <a:buClr>
                <a:schemeClr val="tx1"/>
              </a:buClr>
              <a:buFont typeface="Arial" pitchFamily="34" charset="0"/>
              <a:buChar char="–"/>
              <a:defRPr sz="1200" kern="1200">
                <a:solidFill>
                  <a:schemeClr val="tx1"/>
                </a:solidFill>
                <a:latin typeface="+mn-lt"/>
                <a:ea typeface="+mn-ea"/>
                <a:cs typeface="+mn-cs"/>
              </a:defRPr>
            </a:lvl4pPr>
            <a:lvl5pPr marL="571500" indent="-112713" algn="l" defTabSz="1018879" rtl="0" eaLnBrk="1" latinLnBrk="0" hangingPunct="1">
              <a:lnSpc>
                <a:spcPct val="100000"/>
              </a:lnSpc>
              <a:spcBef>
                <a:spcPts val="600"/>
              </a:spcBef>
              <a:buClr>
                <a:schemeClr val="tx1"/>
              </a:buClr>
              <a:buFont typeface="Arial" pitchFamily="34" charset="0"/>
              <a:buChar char="•"/>
              <a:defRPr sz="1200" kern="1200" baseline="0">
                <a:solidFill>
                  <a:schemeClr val="tx1"/>
                </a:solidFill>
                <a:latin typeface="+mn-lt"/>
                <a:ea typeface="+mn-ea"/>
                <a:cs typeface="+mn-cs"/>
              </a:defRPr>
            </a:lvl5pPr>
            <a:lvl6pPr marL="684213"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6pPr>
            <a:lvl7pPr marL="8001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7pPr>
            <a:lvl8pPr marL="9144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8pPr>
            <a:lvl9pPr marL="1028700" indent="-114300" algn="l" defTabSz="1018879" rtl="0" eaLnBrk="1" latinLnBrk="0" hangingPunct="1">
              <a:spcBef>
                <a:spcPts val="600"/>
              </a:spcBef>
              <a:buClr>
                <a:schemeClr val="tx1"/>
              </a:buClr>
              <a:buFont typeface="Arial" pitchFamily="34" charset="0"/>
              <a:buChar char="•"/>
              <a:defRPr sz="1200" kern="1200" baseline="0">
                <a:solidFill>
                  <a:schemeClr val="tx1"/>
                </a:solidFill>
                <a:latin typeface="+mn-lt"/>
                <a:ea typeface="+mn-ea"/>
                <a:cs typeface="+mn-cs"/>
              </a:defRPr>
            </a:lvl9pPr>
          </a:lstStyle>
          <a:p>
            <a:pPr marL="0" marR="0" lvl="0" indent="0" algn="l" defTabSz="1018879" rtl="0" eaLnBrk="1" fontAlgn="auto" latinLnBrk="0" hangingPunct="1">
              <a:lnSpc>
                <a:spcPct val="100000"/>
              </a:lnSpc>
              <a:spcBef>
                <a:spcPts val="600"/>
              </a:spcBef>
              <a:spcAft>
                <a:spcPts val="0"/>
              </a:spcAft>
              <a:buClr>
                <a:srgbClr val="323E48"/>
              </a:buClr>
              <a:buSzTx/>
              <a:buFont typeface="Arial" pitchFamily="34" charset="0"/>
              <a:buNone/>
              <a:tabLst/>
              <a:defRPr/>
            </a:pPr>
            <a:r>
              <a:rPr kumimoji="0" lang="en-US" sz="2400" b="0" i="1" u="none" strike="noStrike" kern="1200" cap="none" spc="0" normalizeH="0" baseline="0" noProof="0">
                <a:ln>
                  <a:noFill/>
                </a:ln>
                <a:solidFill>
                  <a:srgbClr val="FFFFFF"/>
                </a:solidFill>
                <a:effectLst/>
                <a:uLnTx/>
                <a:uFillTx/>
                <a:latin typeface="Times New Roman" panose="02020603050405020304"/>
                <a:ea typeface="+mn-ea"/>
                <a:cs typeface="+mn-cs"/>
              </a:rPr>
              <a:t>Coming soon</a:t>
            </a:r>
          </a:p>
        </p:txBody>
      </p:sp>
    </p:spTree>
    <p:extLst>
      <p:ext uri="{BB962C8B-B14F-4D97-AF65-F5344CB8AC3E}">
        <p14:creationId xmlns:p14="http://schemas.microsoft.com/office/powerpoint/2010/main" val="233925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550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818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3B2C1A-CA26-4CFD-B86A-CDC265B5B7FB}"/>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173F6354-8CFE-4977-A714-F4EF46D007BC}"/>
              </a:ext>
            </a:extLst>
          </p:cNvPr>
          <p:cNvSpPr>
            <a:spLocks noGrp="1"/>
          </p:cNvSpPr>
          <p:nvPr>
            <p:ph type="body" sz="quarter" idx="27"/>
          </p:nvPr>
        </p:nvSpPr>
        <p:spPr/>
        <p:txBody>
          <a:bodyPr/>
          <a:lstStyle/>
          <a:p>
            <a:endParaRPr lang="en-US"/>
          </a:p>
        </p:txBody>
      </p:sp>
      <p:sp>
        <p:nvSpPr>
          <p:cNvPr id="4" name="Title 3">
            <a:extLst>
              <a:ext uri="{FF2B5EF4-FFF2-40B4-BE49-F238E27FC236}">
                <a16:creationId xmlns:a16="http://schemas.microsoft.com/office/drawing/2014/main" id="{B870AC42-85C3-4ABC-BA9A-27CD9E9B4555}"/>
              </a:ext>
            </a:extLst>
          </p:cNvPr>
          <p:cNvSpPr>
            <a:spLocks noGrp="1"/>
          </p:cNvSpPr>
          <p:nvPr>
            <p:ph type="title"/>
          </p:nvPr>
        </p:nvSpPr>
        <p:spPr/>
        <p:txBody>
          <a:bodyPr/>
          <a:lstStyle/>
          <a:p>
            <a:r>
              <a:rPr lang="en-US"/>
              <a:t>Why we aren’t talking about the “digital divide”</a:t>
            </a:r>
          </a:p>
        </p:txBody>
      </p:sp>
      <p:sp>
        <p:nvSpPr>
          <p:cNvPr id="5" name="TextBox 4">
            <a:extLst>
              <a:ext uri="{FF2B5EF4-FFF2-40B4-BE49-F238E27FC236}">
                <a16:creationId xmlns:a16="http://schemas.microsoft.com/office/drawing/2014/main" id="{8953C749-706C-43ED-B276-9526CFF9F7F8}"/>
              </a:ext>
            </a:extLst>
          </p:cNvPr>
          <p:cNvSpPr txBox="1"/>
          <p:nvPr/>
        </p:nvSpPr>
        <p:spPr bwMode="gray">
          <a:xfrm>
            <a:off x="2994752" y="1752571"/>
            <a:ext cx="6202496"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Problematic assumptions built into the term “digital divide”</a:t>
            </a:r>
          </a:p>
        </p:txBody>
      </p:sp>
      <p:grpSp>
        <p:nvGrpSpPr>
          <p:cNvPr id="15" name="Group 14">
            <a:extLst>
              <a:ext uri="{FF2B5EF4-FFF2-40B4-BE49-F238E27FC236}">
                <a16:creationId xmlns:a16="http://schemas.microsoft.com/office/drawing/2014/main" id="{42BCB8D6-0760-47B0-A46A-824F60014D4A}"/>
              </a:ext>
            </a:extLst>
          </p:cNvPr>
          <p:cNvGrpSpPr/>
          <p:nvPr/>
        </p:nvGrpSpPr>
        <p:grpSpPr>
          <a:xfrm>
            <a:off x="3910986" y="2397453"/>
            <a:ext cx="5286261" cy="3229242"/>
            <a:chOff x="3382176" y="2405451"/>
            <a:chExt cx="5286261" cy="3229242"/>
          </a:xfrm>
        </p:grpSpPr>
        <p:sp>
          <p:nvSpPr>
            <p:cNvPr id="11" name="TextBox 10">
              <a:extLst>
                <a:ext uri="{FF2B5EF4-FFF2-40B4-BE49-F238E27FC236}">
                  <a16:creationId xmlns:a16="http://schemas.microsoft.com/office/drawing/2014/main" id="{E0B3FD54-98BB-4DAB-ABC8-525CB76250EA}"/>
                </a:ext>
              </a:extLst>
            </p:cNvPr>
            <p:cNvSpPr txBox="1"/>
            <p:nvPr/>
          </p:nvSpPr>
          <p:spPr bwMode="gray">
            <a:xfrm>
              <a:off x="3382176" y="2405451"/>
              <a:ext cx="4671152" cy="3693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It is binary</a:t>
              </a:r>
            </a:p>
          </p:txBody>
        </p:sp>
        <p:sp>
          <p:nvSpPr>
            <p:cNvPr id="12" name="TextBox 11">
              <a:extLst>
                <a:ext uri="{FF2B5EF4-FFF2-40B4-BE49-F238E27FC236}">
                  <a16:creationId xmlns:a16="http://schemas.microsoft.com/office/drawing/2014/main" id="{75F562E0-524B-4291-97F4-D49F3D8E11C8}"/>
                </a:ext>
              </a:extLst>
            </p:cNvPr>
            <p:cNvSpPr txBox="1"/>
            <p:nvPr/>
          </p:nvSpPr>
          <p:spPr bwMode="gray">
            <a:xfrm>
              <a:off x="3382177" y="3368594"/>
              <a:ext cx="4671152" cy="3693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It is an infrastructure problem </a:t>
              </a:r>
            </a:p>
          </p:txBody>
        </p:sp>
        <p:sp>
          <p:nvSpPr>
            <p:cNvPr id="13" name="TextBox 12">
              <a:extLst>
                <a:ext uri="{FF2B5EF4-FFF2-40B4-BE49-F238E27FC236}">
                  <a16:creationId xmlns:a16="http://schemas.microsoft.com/office/drawing/2014/main" id="{7882FB6F-7D6C-4752-83D1-8545CECDEE19}"/>
                </a:ext>
              </a:extLst>
            </p:cNvPr>
            <p:cNvSpPr txBox="1"/>
            <p:nvPr/>
          </p:nvSpPr>
          <p:spPr bwMode="gray">
            <a:xfrm>
              <a:off x="3382176" y="4309806"/>
              <a:ext cx="4263527" cy="3693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It has a single, finite solution</a:t>
              </a:r>
            </a:p>
          </p:txBody>
        </p:sp>
        <p:sp>
          <p:nvSpPr>
            <p:cNvPr id="14" name="TextBox 13">
              <a:extLst>
                <a:ext uri="{FF2B5EF4-FFF2-40B4-BE49-F238E27FC236}">
                  <a16:creationId xmlns:a16="http://schemas.microsoft.com/office/drawing/2014/main" id="{ECD3AFA2-BBA1-4A4C-AEAC-4BAE77B3060E}"/>
                </a:ext>
              </a:extLst>
            </p:cNvPr>
            <p:cNvSpPr txBox="1"/>
            <p:nvPr/>
          </p:nvSpPr>
          <p:spPr bwMode="gray">
            <a:xfrm>
              <a:off x="3382176" y="5265361"/>
              <a:ext cx="5286261" cy="3693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2400" b="0" i="0" u="none" strike="noStrike" kern="1200" cap="none" spc="0" normalizeH="0" baseline="0" noProof="0">
                  <a:ln>
                    <a:noFill/>
                  </a:ln>
                  <a:solidFill>
                    <a:srgbClr val="323E48"/>
                  </a:solidFill>
                  <a:effectLst/>
                  <a:uLnTx/>
                  <a:uFillTx/>
                  <a:latin typeface="Times New Roman" panose="02020603050405020304"/>
                  <a:ea typeface="+mn-ea"/>
                  <a:cs typeface="+mn-cs"/>
                </a:rPr>
                <a:t>It is someone else’s problem</a:t>
              </a:r>
            </a:p>
          </p:txBody>
        </p:sp>
      </p:grpSp>
      <p:sp>
        <p:nvSpPr>
          <p:cNvPr id="18" name="Flowchart: Connector 17">
            <a:extLst>
              <a:ext uri="{FF2B5EF4-FFF2-40B4-BE49-F238E27FC236}">
                <a16:creationId xmlns:a16="http://schemas.microsoft.com/office/drawing/2014/main" id="{335A6137-D591-46CC-A02C-8769719635E9}"/>
              </a:ext>
            </a:extLst>
          </p:cNvPr>
          <p:cNvSpPr/>
          <p:nvPr/>
        </p:nvSpPr>
        <p:spPr bwMode="gray">
          <a:xfrm>
            <a:off x="2994752" y="2227468"/>
            <a:ext cx="717932" cy="709303"/>
          </a:xfrm>
          <a:prstGeom prst="flowChartConnector">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Flowchart: Connector 18">
            <a:extLst>
              <a:ext uri="{FF2B5EF4-FFF2-40B4-BE49-F238E27FC236}">
                <a16:creationId xmlns:a16="http://schemas.microsoft.com/office/drawing/2014/main" id="{C8BAC5BC-5BDF-4D0E-A8D4-62517EFCD297}"/>
              </a:ext>
            </a:extLst>
          </p:cNvPr>
          <p:cNvSpPr/>
          <p:nvPr/>
        </p:nvSpPr>
        <p:spPr bwMode="gray">
          <a:xfrm>
            <a:off x="2994752" y="3186354"/>
            <a:ext cx="717932" cy="709303"/>
          </a:xfrm>
          <a:prstGeom prst="flowChartConnector">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Flowchart: Connector 19">
            <a:extLst>
              <a:ext uri="{FF2B5EF4-FFF2-40B4-BE49-F238E27FC236}">
                <a16:creationId xmlns:a16="http://schemas.microsoft.com/office/drawing/2014/main" id="{36D5CC38-8644-485C-A58E-516A7A8093F4}"/>
              </a:ext>
            </a:extLst>
          </p:cNvPr>
          <p:cNvSpPr/>
          <p:nvPr/>
        </p:nvSpPr>
        <p:spPr bwMode="gray">
          <a:xfrm>
            <a:off x="2994752" y="4131823"/>
            <a:ext cx="717932" cy="709303"/>
          </a:xfrm>
          <a:prstGeom prst="flowChartConnector">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Flowchart: Connector 20">
            <a:extLst>
              <a:ext uri="{FF2B5EF4-FFF2-40B4-BE49-F238E27FC236}">
                <a16:creationId xmlns:a16="http://schemas.microsoft.com/office/drawing/2014/main" id="{DBBE65F5-CA9A-4CF7-BDBF-36A7512F5905}"/>
              </a:ext>
            </a:extLst>
          </p:cNvPr>
          <p:cNvSpPr/>
          <p:nvPr/>
        </p:nvSpPr>
        <p:spPr bwMode="gray">
          <a:xfrm>
            <a:off x="2994752" y="5087378"/>
            <a:ext cx="717932" cy="709303"/>
          </a:xfrm>
          <a:prstGeom prst="flowChartConnector">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3" name="Picture 22">
            <a:extLst>
              <a:ext uri="{FF2B5EF4-FFF2-40B4-BE49-F238E27FC236}">
                <a16:creationId xmlns:a16="http://schemas.microsoft.com/office/drawing/2014/main" id="{F2923617-E210-4C62-8643-AA64CD5199CA}"/>
              </a:ext>
            </a:extLst>
          </p:cNvPr>
          <p:cNvPicPr>
            <a:picLocks/>
          </p:cNvPicPr>
          <p:nvPr/>
        </p:nvPicPr>
        <p:blipFill>
          <a:blip r:embed="rId3">
            <a:extLst>
              <a:ext uri="{28A0092B-C50C-407E-A947-70E740481C1C}">
                <a14:useLocalDpi xmlns:a14="http://schemas.microsoft.com/office/drawing/2010/main" val="0"/>
              </a:ext>
            </a:extLst>
          </a:blip>
          <a:stretch>
            <a:fillRect/>
          </a:stretch>
        </p:blipFill>
        <p:spPr bwMode="gray">
          <a:xfrm>
            <a:off x="3129511" y="3326754"/>
            <a:ext cx="448413" cy="448413"/>
          </a:xfrm>
          <a:prstGeom prst="rect">
            <a:avLst/>
          </a:prstGeom>
        </p:spPr>
      </p:pic>
      <p:pic>
        <p:nvPicPr>
          <p:cNvPr id="25" name="Picture 24">
            <a:extLst>
              <a:ext uri="{FF2B5EF4-FFF2-40B4-BE49-F238E27FC236}">
                <a16:creationId xmlns:a16="http://schemas.microsoft.com/office/drawing/2014/main" id="{ADBE4757-6E5F-477E-96E7-EF503E23C6E1}"/>
              </a:ext>
            </a:extLst>
          </p:cNvPr>
          <p:cNvPicPr>
            <a:picLocks/>
          </p:cNvPicPr>
          <p:nvPr/>
        </p:nvPicPr>
        <p:blipFill>
          <a:blip r:embed="rId4">
            <a:extLst>
              <a:ext uri="{28A0092B-C50C-407E-A947-70E740481C1C}">
                <a14:useLocalDpi xmlns:a14="http://schemas.microsoft.com/office/drawing/2010/main" val="0"/>
              </a:ext>
            </a:extLst>
          </a:blip>
          <a:stretch>
            <a:fillRect/>
          </a:stretch>
        </p:blipFill>
        <p:spPr bwMode="gray">
          <a:xfrm>
            <a:off x="3183255" y="4302657"/>
            <a:ext cx="340923" cy="368857"/>
          </a:xfrm>
          <a:prstGeom prst="rect">
            <a:avLst/>
          </a:prstGeom>
        </p:spPr>
      </p:pic>
      <p:pic>
        <p:nvPicPr>
          <p:cNvPr id="26" name="Picture 25">
            <a:extLst>
              <a:ext uri="{FF2B5EF4-FFF2-40B4-BE49-F238E27FC236}">
                <a16:creationId xmlns:a16="http://schemas.microsoft.com/office/drawing/2014/main" id="{DB73C59B-D65A-4406-B26C-BC6BBF1FF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3168938" y="5188409"/>
            <a:ext cx="369556" cy="494940"/>
          </a:xfrm>
          <a:prstGeom prst="rect">
            <a:avLst/>
          </a:prstGeom>
        </p:spPr>
      </p:pic>
      <p:pic>
        <p:nvPicPr>
          <p:cNvPr id="24" name="Picture 23">
            <a:extLst>
              <a:ext uri="{FF2B5EF4-FFF2-40B4-BE49-F238E27FC236}">
                <a16:creationId xmlns:a16="http://schemas.microsoft.com/office/drawing/2014/main" id="{81CE3CD9-8B99-4C1C-8CCA-669A301ACDD5}"/>
              </a:ext>
            </a:extLst>
          </p:cNvPr>
          <p:cNvPicPr>
            <a:picLocks/>
          </p:cNvPicPr>
          <p:nvPr/>
        </p:nvPicPr>
        <p:blipFill>
          <a:blip r:embed="rId6">
            <a:extLst>
              <a:ext uri="{28A0092B-C50C-407E-A947-70E740481C1C}">
                <a14:useLocalDpi xmlns:a14="http://schemas.microsoft.com/office/drawing/2010/main" val="0"/>
              </a:ext>
            </a:extLst>
          </a:blip>
          <a:stretch>
            <a:fillRect/>
          </a:stretch>
        </p:blipFill>
        <p:spPr bwMode="gray">
          <a:xfrm>
            <a:off x="3129511" y="2397453"/>
            <a:ext cx="529429" cy="438191"/>
          </a:xfrm>
          <a:prstGeom prst="rect">
            <a:avLst/>
          </a:prstGeom>
        </p:spPr>
      </p:pic>
    </p:spTree>
    <p:extLst>
      <p:ext uri="{BB962C8B-B14F-4D97-AF65-F5344CB8AC3E}">
        <p14:creationId xmlns:p14="http://schemas.microsoft.com/office/powerpoint/2010/main" val="540175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0283FD-ED5E-43C2-8572-55FBA3E68B27}"/>
              </a:ext>
            </a:extLst>
          </p:cNvPr>
          <p:cNvSpPr>
            <a:spLocks noGrp="1"/>
          </p:cNvSpPr>
          <p:nvPr>
            <p:ph type="body" sz="quarter" idx="28"/>
          </p:nvPr>
        </p:nvSpPr>
        <p:spPr>
          <a:xfrm>
            <a:off x="612773" y="6060046"/>
            <a:ext cx="3657600" cy="107722"/>
          </a:xfrm>
        </p:spPr>
        <p:txBody>
          <a:bodyPr/>
          <a:lstStyle/>
          <a:p>
            <a:endParaRPr lang="en-US"/>
          </a:p>
        </p:txBody>
      </p:sp>
      <p:sp>
        <p:nvSpPr>
          <p:cNvPr id="3" name="Text Placeholder 2">
            <a:extLst>
              <a:ext uri="{FF2B5EF4-FFF2-40B4-BE49-F238E27FC236}">
                <a16:creationId xmlns:a16="http://schemas.microsoft.com/office/drawing/2014/main" id="{17CC4F99-A7A7-4F0E-BD70-391E0475089A}"/>
              </a:ext>
            </a:extLst>
          </p:cNvPr>
          <p:cNvSpPr>
            <a:spLocks noGrp="1"/>
          </p:cNvSpPr>
          <p:nvPr>
            <p:ph type="body" sz="quarter" idx="27"/>
          </p:nvPr>
        </p:nvSpPr>
        <p:spPr/>
        <p:txBody>
          <a:bodyPr/>
          <a:lstStyle/>
          <a:p>
            <a:endParaRPr lang="en-US"/>
          </a:p>
        </p:txBody>
      </p:sp>
      <p:sp>
        <p:nvSpPr>
          <p:cNvPr id="4" name="Title 3">
            <a:extLst>
              <a:ext uri="{FF2B5EF4-FFF2-40B4-BE49-F238E27FC236}">
                <a16:creationId xmlns:a16="http://schemas.microsoft.com/office/drawing/2014/main" id="{BC2CD862-394C-4C13-ADAF-CF9B152DB703}"/>
              </a:ext>
            </a:extLst>
          </p:cNvPr>
          <p:cNvSpPr>
            <a:spLocks noGrp="1"/>
          </p:cNvSpPr>
          <p:nvPr>
            <p:ph type="title"/>
          </p:nvPr>
        </p:nvSpPr>
        <p:spPr/>
        <p:txBody>
          <a:bodyPr/>
          <a:lstStyle/>
          <a:p>
            <a:r>
              <a:rPr lang="en-US"/>
              <a:t>Structural forces have led to current digital inequities </a:t>
            </a:r>
          </a:p>
        </p:txBody>
      </p:sp>
      <p:sp>
        <p:nvSpPr>
          <p:cNvPr id="39" name="Freeform 10">
            <a:extLst>
              <a:ext uri="{FF2B5EF4-FFF2-40B4-BE49-F238E27FC236}">
                <a16:creationId xmlns:a16="http://schemas.microsoft.com/office/drawing/2014/main" id="{1D57405B-A733-4FD6-A332-2EB0120297D4}"/>
              </a:ext>
            </a:extLst>
          </p:cNvPr>
          <p:cNvSpPr>
            <a:spLocks/>
          </p:cNvSpPr>
          <p:nvPr/>
        </p:nvSpPr>
        <p:spPr bwMode="gray">
          <a:xfrm>
            <a:off x="4566004" y="2292709"/>
            <a:ext cx="838439" cy="192314"/>
          </a:xfrm>
          <a:custGeom>
            <a:avLst/>
            <a:gdLst>
              <a:gd name="T0" fmla="*/ 780 w 780"/>
              <a:gd name="T1" fmla="*/ 463 h 463"/>
              <a:gd name="T2" fmla="*/ 0 w 780"/>
              <a:gd name="T3" fmla="*/ 0 h 463"/>
              <a:gd name="T4" fmla="*/ 780 w 780"/>
              <a:gd name="T5" fmla="*/ 0 h 463"/>
              <a:gd name="T6" fmla="*/ 780 w 780"/>
              <a:gd name="T7" fmla="*/ 463 h 463"/>
            </a:gdLst>
            <a:ahLst/>
            <a:cxnLst>
              <a:cxn ang="0">
                <a:pos x="T0" y="T1"/>
              </a:cxn>
              <a:cxn ang="0">
                <a:pos x="T2" y="T3"/>
              </a:cxn>
              <a:cxn ang="0">
                <a:pos x="T4" y="T5"/>
              </a:cxn>
              <a:cxn ang="0">
                <a:pos x="T6" y="T7"/>
              </a:cxn>
            </a:cxnLst>
            <a:rect l="0" t="0" r="r" b="b"/>
            <a:pathLst>
              <a:path w="780" h="463">
                <a:moveTo>
                  <a:pt x="780" y="463"/>
                </a:moveTo>
                <a:lnTo>
                  <a:pt x="0" y="0"/>
                </a:lnTo>
                <a:lnTo>
                  <a:pt x="780" y="0"/>
                </a:lnTo>
                <a:lnTo>
                  <a:pt x="780" y="463"/>
                </a:lnTo>
                <a:close/>
              </a:path>
            </a:pathLst>
          </a:custGeom>
          <a:solidFill>
            <a:schemeClr val="accent4"/>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40" name="Freeform 10">
            <a:extLst>
              <a:ext uri="{FF2B5EF4-FFF2-40B4-BE49-F238E27FC236}">
                <a16:creationId xmlns:a16="http://schemas.microsoft.com/office/drawing/2014/main" id="{0A39C42F-4467-4041-B874-785C631BA451}"/>
              </a:ext>
            </a:extLst>
          </p:cNvPr>
          <p:cNvSpPr>
            <a:spLocks/>
          </p:cNvSpPr>
          <p:nvPr/>
        </p:nvSpPr>
        <p:spPr bwMode="gray">
          <a:xfrm>
            <a:off x="4566004" y="4593926"/>
            <a:ext cx="838439" cy="192314"/>
          </a:xfrm>
          <a:custGeom>
            <a:avLst/>
            <a:gdLst>
              <a:gd name="T0" fmla="*/ 780 w 780"/>
              <a:gd name="T1" fmla="*/ 463 h 463"/>
              <a:gd name="T2" fmla="*/ 0 w 780"/>
              <a:gd name="T3" fmla="*/ 0 h 463"/>
              <a:gd name="T4" fmla="*/ 780 w 780"/>
              <a:gd name="T5" fmla="*/ 0 h 463"/>
              <a:gd name="T6" fmla="*/ 780 w 780"/>
              <a:gd name="T7" fmla="*/ 463 h 463"/>
            </a:gdLst>
            <a:ahLst/>
            <a:cxnLst>
              <a:cxn ang="0">
                <a:pos x="T0" y="T1"/>
              </a:cxn>
              <a:cxn ang="0">
                <a:pos x="T2" y="T3"/>
              </a:cxn>
              <a:cxn ang="0">
                <a:pos x="T4" y="T5"/>
              </a:cxn>
              <a:cxn ang="0">
                <a:pos x="T6" y="T7"/>
              </a:cxn>
            </a:cxnLst>
            <a:rect l="0" t="0" r="r" b="b"/>
            <a:pathLst>
              <a:path w="780" h="463">
                <a:moveTo>
                  <a:pt x="780" y="463"/>
                </a:moveTo>
                <a:lnTo>
                  <a:pt x="0" y="0"/>
                </a:lnTo>
                <a:lnTo>
                  <a:pt x="780" y="0"/>
                </a:lnTo>
                <a:lnTo>
                  <a:pt x="780" y="463"/>
                </a:lnTo>
                <a:close/>
              </a:path>
            </a:pathLst>
          </a:custGeom>
          <a:solidFill>
            <a:schemeClr val="accent4"/>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41" name="Freeform 10">
            <a:extLst>
              <a:ext uri="{FF2B5EF4-FFF2-40B4-BE49-F238E27FC236}">
                <a16:creationId xmlns:a16="http://schemas.microsoft.com/office/drawing/2014/main" id="{318457EF-3B36-4E58-A376-4E2D44119962}"/>
              </a:ext>
            </a:extLst>
          </p:cNvPr>
          <p:cNvSpPr>
            <a:spLocks/>
          </p:cNvSpPr>
          <p:nvPr/>
        </p:nvSpPr>
        <p:spPr bwMode="gray">
          <a:xfrm flipH="1">
            <a:off x="6787558" y="3424218"/>
            <a:ext cx="838439" cy="192314"/>
          </a:xfrm>
          <a:custGeom>
            <a:avLst/>
            <a:gdLst>
              <a:gd name="T0" fmla="*/ 780 w 780"/>
              <a:gd name="T1" fmla="*/ 463 h 463"/>
              <a:gd name="T2" fmla="*/ 0 w 780"/>
              <a:gd name="T3" fmla="*/ 0 h 463"/>
              <a:gd name="T4" fmla="*/ 780 w 780"/>
              <a:gd name="T5" fmla="*/ 0 h 463"/>
              <a:gd name="T6" fmla="*/ 780 w 780"/>
              <a:gd name="T7" fmla="*/ 463 h 463"/>
            </a:gdLst>
            <a:ahLst/>
            <a:cxnLst>
              <a:cxn ang="0">
                <a:pos x="T0" y="T1"/>
              </a:cxn>
              <a:cxn ang="0">
                <a:pos x="T2" y="T3"/>
              </a:cxn>
              <a:cxn ang="0">
                <a:pos x="T4" y="T5"/>
              </a:cxn>
              <a:cxn ang="0">
                <a:pos x="T6" y="T7"/>
              </a:cxn>
            </a:cxnLst>
            <a:rect l="0" t="0" r="r" b="b"/>
            <a:pathLst>
              <a:path w="780" h="463">
                <a:moveTo>
                  <a:pt x="780" y="463"/>
                </a:moveTo>
                <a:lnTo>
                  <a:pt x="0" y="0"/>
                </a:lnTo>
                <a:lnTo>
                  <a:pt x="780" y="0"/>
                </a:lnTo>
                <a:lnTo>
                  <a:pt x="780" y="463"/>
                </a:lnTo>
                <a:close/>
              </a:path>
            </a:pathLst>
          </a:custGeom>
          <a:solidFill>
            <a:schemeClr val="accent4"/>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42" name="Freeform 10">
            <a:extLst>
              <a:ext uri="{FF2B5EF4-FFF2-40B4-BE49-F238E27FC236}">
                <a16:creationId xmlns:a16="http://schemas.microsoft.com/office/drawing/2014/main" id="{E800758A-34CF-4ACB-81BD-EE0D59EC4EA8}"/>
              </a:ext>
            </a:extLst>
          </p:cNvPr>
          <p:cNvSpPr>
            <a:spLocks/>
          </p:cNvSpPr>
          <p:nvPr/>
        </p:nvSpPr>
        <p:spPr bwMode="gray">
          <a:xfrm flipH="1">
            <a:off x="6787558" y="5747883"/>
            <a:ext cx="838439" cy="192314"/>
          </a:xfrm>
          <a:custGeom>
            <a:avLst/>
            <a:gdLst>
              <a:gd name="T0" fmla="*/ 780 w 780"/>
              <a:gd name="T1" fmla="*/ 463 h 463"/>
              <a:gd name="T2" fmla="*/ 0 w 780"/>
              <a:gd name="T3" fmla="*/ 0 h 463"/>
              <a:gd name="T4" fmla="*/ 780 w 780"/>
              <a:gd name="T5" fmla="*/ 0 h 463"/>
              <a:gd name="T6" fmla="*/ 780 w 780"/>
              <a:gd name="T7" fmla="*/ 463 h 463"/>
            </a:gdLst>
            <a:ahLst/>
            <a:cxnLst>
              <a:cxn ang="0">
                <a:pos x="T0" y="T1"/>
              </a:cxn>
              <a:cxn ang="0">
                <a:pos x="T2" y="T3"/>
              </a:cxn>
              <a:cxn ang="0">
                <a:pos x="T4" y="T5"/>
              </a:cxn>
              <a:cxn ang="0">
                <a:pos x="T6" y="T7"/>
              </a:cxn>
            </a:cxnLst>
            <a:rect l="0" t="0" r="r" b="b"/>
            <a:pathLst>
              <a:path w="780" h="463">
                <a:moveTo>
                  <a:pt x="780" y="463"/>
                </a:moveTo>
                <a:lnTo>
                  <a:pt x="0" y="0"/>
                </a:lnTo>
                <a:lnTo>
                  <a:pt x="780" y="0"/>
                </a:lnTo>
                <a:lnTo>
                  <a:pt x="780" y="463"/>
                </a:lnTo>
                <a:close/>
              </a:path>
            </a:pathLst>
          </a:custGeom>
          <a:solidFill>
            <a:schemeClr val="accent4"/>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43" name="Rectangle 42">
            <a:extLst>
              <a:ext uri="{FF2B5EF4-FFF2-40B4-BE49-F238E27FC236}">
                <a16:creationId xmlns:a16="http://schemas.microsoft.com/office/drawing/2014/main" id="{5A667693-45A9-4970-A032-A55FF6FDB47D}"/>
              </a:ext>
            </a:extLst>
          </p:cNvPr>
          <p:cNvSpPr/>
          <p:nvPr/>
        </p:nvSpPr>
        <p:spPr bwMode="gray">
          <a:xfrm>
            <a:off x="4924977" y="1588163"/>
            <a:ext cx="2342046" cy="4449473"/>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sp>
        <p:nvSpPr>
          <p:cNvPr id="68" name="Rectangle 9">
            <a:extLst>
              <a:ext uri="{FF2B5EF4-FFF2-40B4-BE49-F238E27FC236}">
                <a16:creationId xmlns:a16="http://schemas.microsoft.com/office/drawing/2014/main" id="{3450BE61-FB26-43EF-9AF1-A4284622CAFF}"/>
              </a:ext>
            </a:extLst>
          </p:cNvPr>
          <p:cNvSpPr>
            <a:spLocks noChangeArrowheads="1"/>
          </p:cNvSpPr>
          <p:nvPr/>
        </p:nvSpPr>
        <p:spPr bwMode="gray">
          <a:xfrm>
            <a:off x="4566004" y="1743943"/>
            <a:ext cx="3030660" cy="550661"/>
          </a:xfrm>
          <a:prstGeom prst="rect">
            <a:avLst/>
          </a:prstGeom>
          <a:solidFill>
            <a:schemeClr val="accent3"/>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70" name="Rectangle 9">
            <a:extLst>
              <a:ext uri="{FF2B5EF4-FFF2-40B4-BE49-F238E27FC236}">
                <a16:creationId xmlns:a16="http://schemas.microsoft.com/office/drawing/2014/main" id="{297A5FD6-A3DB-4F8D-9BD4-0685629E5D4B}"/>
              </a:ext>
            </a:extLst>
          </p:cNvPr>
          <p:cNvSpPr>
            <a:spLocks noChangeArrowheads="1"/>
          </p:cNvSpPr>
          <p:nvPr/>
        </p:nvSpPr>
        <p:spPr bwMode="gray">
          <a:xfrm>
            <a:off x="4566004" y="4045160"/>
            <a:ext cx="3030660" cy="550661"/>
          </a:xfrm>
          <a:prstGeom prst="rect">
            <a:avLst/>
          </a:prstGeom>
          <a:solidFill>
            <a:schemeClr val="accent3"/>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71" name="Oval 70">
            <a:extLst>
              <a:ext uri="{FF2B5EF4-FFF2-40B4-BE49-F238E27FC236}">
                <a16:creationId xmlns:a16="http://schemas.microsoft.com/office/drawing/2014/main" id="{08D2D7E5-13DC-41F1-A537-56A2ABFFC4CA}"/>
              </a:ext>
            </a:extLst>
          </p:cNvPr>
          <p:cNvSpPr/>
          <p:nvPr/>
        </p:nvSpPr>
        <p:spPr bwMode="gray">
          <a:xfrm>
            <a:off x="7335641" y="3986819"/>
            <a:ext cx="667340" cy="667340"/>
          </a:xfrm>
          <a:prstGeom prst="ellipse">
            <a:avLst/>
          </a:prstGeom>
          <a:solidFill>
            <a:schemeClr val="bg1"/>
          </a:solidFill>
          <a:ln w="1905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sp>
        <p:nvSpPr>
          <p:cNvPr id="72" name="Rectangle 9">
            <a:extLst>
              <a:ext uri="{FF2B5EF4-FFF2-40B4-BE49-F238E27FC236}">
                <a16:creationId xmlns:a16="http://schemas.microsoft.com/office/drawing/2014/main" id="{68ED792F-79EF-49DA-8D00-5405A68B839C}"/>
              </a:ext>
            </a:extLst>
          </p:cNvPr>
          <p:cNvSpPr>
            <a:spLocks noChangeArrowheads="1"/>
          </p:cNvSpPr>
          <p:nvPr/>
        </p:nvSpPr>
        <p:spPr bwMode="gray">
          <a:xfrm flipH="1">
            <a:off x="4595336" y="2875451"/>
            <a:ext cx="3030660" cy="550661"/>
          </a:xfrm>
          <a:prstGeom prst="rect">
            <a:avLst/>
          </a:prstGeom>
          <a:solidFill>
            <a:schemeClr val="accent3"/>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73" name="Oval 72">
            <a:extLst>
              <a:ext uri="{FF2B5EF4-FFF2-40B4-BE49-F238E27FC236}">
                <a16:creationId xmlns:a16="http://schemas.microsoft.com/office/drawing/2014/main" id="{0A8C19A3-587A-46F3-9933-1B9E981C10BA}"/>
              </a:ext>
            </a:extLst>
          </p:cNvPr>
          <p:cNvSpPr/>
          <p:nvPr/>
        </p:nvSpPr>
        <p:spPr bwMode="gray">
          <a:xfrm flipH="1">
            <a:off x="4189019" y="2817110"/>
            <a:ext cx="667340" cy="667340"/>
          </a:xfrm>
          <a:prstGeom prst="ellipse">
            <a:avLst/>
          </a:prstGeom>
          <a:solidFill>
            <a:schemeClr val="bg1"/>
          </a:solidFill>
          <a:ln w="1905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sp>
        <p:nvSpPr>
          <p:cNvPr id="74" name="Rectangle 9">
            <a:extLst>
              <a:ext uri="{FF2B5EF4-FFF2-40B4-BE49-F238E27FC236}">
                <a16:creationId xmlns:a16="http://schemas.microsoft.com/office/drawing/2014/main" id="{A40F59E5-7471-42EB-ABC9-E7F06B9D4FC1}"/>
              </a:ext>
            </a:extLst>
          </p:cNvPr>
          <p:cNvSpPr>
            <a:spLocks noChangeArrowheads="1"/>
          </p:cNvSpPr>
          <p:nvPr/>
        </p:nvSpPr>
        <p:spPr bwMode="gray">
          <a:xfrm flipH="1">
            <a:off x="4595336" y="5199117"/>
            <a:ext cx="3030660" cy="550661"/>
          </a:xfrm>
          <a:prstGeom prst="rect">
            <a:avLst/>
          </a:prstGeom>
          <a:solidFill>
            <a:schemeClr val="accent3"/>
          </a:solidFill>
          <a:ln w="9525" cap="flat" cmpd="sng" algn="ctr">
            <a:noFill/>
            <a:prstDash val="solid"/>
            <a:round/>
            <a:headEnd type="none" w="med" len="med"/>
            <a:tailEnd type="none" w="med" len="med"/>
          </a:ln>
          <a:effectLst/>
        </p:spPr>
        <p:txBody>
          <a:bodyPr lIns="117320" tIns="58659" rIns="117320" bIns="58659" anchor="ctr"/>
          <a:lstStyle/>
          <a:p>
            <a:pPr algn="ctr" defTabSz="1163435">
              <a:lnSpc>
                <a:spcPct val="90000"/>
              </a:lnSpc>
              <a:defRPr/>
            </a:pPr>
            <a:endParaRPr lang="en-US" sz="3429">
              <a:latin typeface="Franklin Gothic Book"/>
            </a:endParaRPr>
          </a:p>
        </p:txBody>
      </p:sp>
      <p:sp>
        <p:nvSpPr>
          <p:cNvPr id="75" name="Oval 74">
            <a:extLst>
              <a:ext uri="{FF2B5EF4-FFF2-40B4-BE49-F238E27FC236}">
                <a16:creationId xmlns:a16="http://schemas.microsoft.com/office/drawing/2014/main" id="{D4951D89-C907-4EB5-967E-C5E1666A2D8B}"/>
              </a:ext>
            </a:extLst>
          </p:cNvPr>
          <p:cNvSpPr/>
          <p:nvPr/>
        </p:nvSpPr>
        <p:spPr bwMode="gray">
          <a:xfrm flipH="1">
            <a:off x="4189019" y="5140776"/>
            <a:ext cx="667340" cy="667340"/>
          </a:xfrm>
          <a:prstGeom prst="ellipse">
            <a:avLst/>
          </a:prstGeom>
          <a:solidFill>
            <a:schemeClr val="bg1"/>
          </a:solidFill>
          <a:ln w="1905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sp>
        <p:nvSpPr>
          <p:cNvPr id="76" name="TextBox 75">
            <a:extLst>
              <a:ext uri="{FF2B5EF4-FFF2-40B4-BE49-F238E27FC236}">
                <a16:creationId xmlns:a16="http://schemas.microsoft.com/office/drawing/2014/main" id="{F5ADC029-673E-4A05-BFB8-44FB687C59B0}"/>
              </a:ext>
            </a:extLst>
          </p:cNvPr>
          <p:cNvSpPr txBox="1"/>
          <p:nvPr/>
        </p:nvSpPr>
        <p:spPr bwMode="gray">
          <a:xfrm>
            <a:off x="5129854" y="3040861"/>
            <a:ext cx="2021588" cy="246221"/>
          </a:xfrm>
          <a:prstGeom prst="rect">
            <a:avLst/>
          </a:prstGeom>
          <a:noFill/>
        </p:spPr>
        <p:txBody>
          <a:bodyPr wrap="square" lIns="0" tIns="0" rIns="0" bIns="0" rtlCol="0">
            <a:spAutoFit/>
          </a:bodyPr>
          <a:lstStyle/>
          <a:p>
            <a:pPr algn="ctr">
              <a:spcBef>
                <a:spcPts val="714"/>
              </a:spcBef>
            </a:pPr>
            <a:r>
              <a:rPr lang="en-US" sz="1600" b="1">
                <a:solidFill>
                  <a:schemeClr val="bg1"/>
                </a:solidFill>
              </a:rPr>
              <a:t>Infrastructure</a:t>
            </a:r>
          </a:p>
        </p:txBody>
      </p:sp>
      <p:sp>
        <p:nvSpPr>
          <p:cNvPr id="77" name="TextBox 76">
            <a:extLst>
              <a:ext uri="{FF2B5EF4-FFF2-40B4-BE49-F238E27FC236}">
                <a16:creationId xmlns:a16="http://schemas.microsoft.com/office/drawing/2014/main" id="{B08CC4B9-D894-40A4-86D3-582D3821BEA8}"/>
              </a:ext>
            </a:extLst>
          </p:cNvPr>
          <p:cNvSpPr txBox="1"/>
          <p:nvPr/>
        </p:nvSpPr>
        <p:spPr bwMode="gray">
          <a:xfrm>
            <a:off x="4985247" y="4198337"/>
            <a:ext cx="2240210" cy="246221"/>
          </a:xfrm>
          <a:prstGeom prst="rect">
            <a:avLst/>
          </a:prstGeom>
          <a:noFill/>
        </p:spPr>
        <p:txBody>
          <a:bodyPr wrap="square" lIns="0" tIns="0" rIns="0" bIns="0" rtlCol="0">
            <a:spAutoFit/>
          </a:bodyPr>
          <a:lstStyle/>
          <a:p>
            <a:pPr algn="ctr">
              <a:spcBef>
                <a:spcPts val="714"/>
              </a:spcBef>
            </a:pPr>
            <a:r>
              <a:rPr lang="en-US" sz="1600" b="1">
                <a:solidFill>
                  <a:schemeClr val="bg1"/>
                </a:solidFill>
              </a:rPr>
              <a:t>Socioeconomic status</a:t>
            </a:r>
          </a:p>
        </p:txBody>
      </p:sp>
      <p:sp>
        <p:nvSpPr>
          <p:cNvPr id="78" name="TextBox 77">
            <a:extLst>
              <a:ext uri="{FF2B5EF4-FFF2-40B4-BE49-F238E27FC236}">
                <a16:creationId xmlns:a16="http://schemas.microsoft.com/office/drawing/2014/main" id="{38CC99F6-3A80-475F-8268-15CF768BA79A}"/>
              </a:ext>
            </a:extLst>
          </p:cNvPr>
          <p:cNvSpPr txBox="1"/>
          <p:nvPr/>
        </p:nvSpPr>
        <p:spPr bwMode="gray">
          <a:xfrm>
            <a:off x="4924977" y="5222386"/>
            <a:ext cx="2342046" cy="492443"/>
          </a:xfrm>
          <a:prstGeom prst="rect">
            <a:avLst/>
          </a:prstGeom>
          <a:noFill/>
        </p:spPr>
        <p:txBody>
          <a:bodyPr wrap="square" lIns="0" tIns="0" rIns="0" bIns="0" rtlCol="0">
            <a:spAutoFit/>
          </a:bodyPr>
          <a:lstStyle/>
          <a:p>
            <a:pPr algn="ctr">
              <a:spcBef>
                <a:spcPts val="714"/>
              </a:spcBef>
            </a:pPr>
            <a:r>
              <a:rPr lang="en-US" sz="1600" b="1">
                <a:solidFill>
                  <a:schemeClr val="bg1"/>
                </a:solidFill>
              </a:rPr>
              <a:t>Rapid technological adoption</a:t>
            </a:r>
          </a:p>
        </p:txBody>
      </p:sp>
      <p:sp>
        <p:nvSpPr>
          <p:cNvPr id="79" name="TextBox 78">
            <a:extLst>
              <a:ext uri="{FF2B5EF4-FFF2-40B4-BE49-F238E27FC236}">
                <a16:creationId xmlns:a16="http://schemas.microsoft.com/office/drawing/2014/main" id="{FE348335-E44C-4C30-9161-96D08484BDCF}"/>
              </a:ext>
            </a:extLst>
          </p:cNvPr>
          <p:cNvSpPr txBox="1"/>
          <p:nvPr/>
        </p:nvSpPr>
        <p:spPr bwMode="gray">
          <a:xfrm>
            <a:off x="5129854" y="1909352"/>
            <a:ext cx="2021588" cy="246221"/>
          </a:xfrm>
          <a:prstGeom prst="rect">
            <a:avLst/>
          </a:prstGeom>
          <a:noFill/>
        </p:spPr>
        <p:txBody>
          <a:bodyPr wrap="square" lIns="0" tIns="0" rIns="0" bIns="0" rtlCol="0">
            <a:spAutoFit/>
          </a:bodyPr>
          <a:lstStyle/>
          <a:p>
            <a:pPr algn="ctr">
              <a:spcBef>
                <a:spcPts val="714"/>
              </a:spcBef>
            </a:pPr>
            <a:r>
              <a:rPr lang="en-US" sz="1600" b="1">
                <a:solidFill>
                  <a:schemeClr val="bg1"/>
                </a:solidFill>
              </a:rPr>
              <a:t>Education</a:t>
            </a:r>
          </a:p>
        </p:txBody>
      </p:sp>
      <p:pic>
        <p:nvPicPr>
          <p:cNvPr id="80" name="Picture 79">
            <a:extLst>
              <a:ext uri="{FF2B5EF4-FFF2-40B4-BE49-F238E27FC236}">
                <a16:creationId xmlns:a16="http://schemas.microsoft.com/office/drawing/2014/main" id="{71F6E50F-4FF3-4B1B-8077-62D816F4976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81504" y="5203039"/>
            <a:ext cx="488648" cy="531139"/>
          </a:xfrm>
          <a:prstGeom prst="rect">
            <a:avLst/>
          </a:prstGeom>
        </p:spPr>
      </p:pic>
      <p:pic>
        <p:nvPicPr>
          <p:cNvPr id="81" name="Picture 80">
            <a:extLst>
              <a:ext uri="{FF2B5EF4-FFF2-40B4-BE49-F238E27FC236}">
                <a16:creationId xmlns:a16="http://schemas.microsoft.com/office/drawing/2014/main" id="{0AA23B68-2017-43F1-93A7-7AB1E9CF298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4318940" y="2888130"/>
            <a:ext cx="403352" cy="527641"/>
          </a:xfrm>
          <a:prstGeom prst="rect">
            <a:avLst/>
          </a:prstGeom>
        </p:spPr>
      </p:pic>
      <p:pic>
        <p:nvPicPr>
          <p:cNvPr id="83" name="Picture 82">
            <a:extLst>
              <a:ext uri="{FF2B5EF4-FFF2-40B4-BE49-F238E27FC236}">
                <a16:creationId xmlns:a16="http://schemas.microsoft.com/office/drawing/2014/main" id="{F1001389-6E48-4624-9B0C-BF0B3843172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7428511" y="4078082"/>
            <a:ext cx="473541" cy="453390"/>
          </a:xfrm>
          <a:prstGeom prst="rect">
            <a:avLst/>
          </a:prstGeom>
        </p:spPr>
      </p:pic>
      <p:sp>
        <p:nvSpPr>
          <p:cNvPr id="69" name="Oval 68">
            <a:extLst>
              <a:ext uri="{FF2B5EF4-FFF2-40B4-BE49-F238E27FC236}">
                <a16:creationId xmlns:a16="http://schemas.microsoft.com/office/drawing/2014/main" id="{845710C1-B6B9-45A4-A0F8-04FF0134F085}"/>
              </a:ext>
            </a:extLst>
          </p:cNvPr>
          <p:cNvSpPr/>
          <p:nvPr/>
        </p:nvSpPr>
        <p:spPr bwMode="gray">
          <a:xfrm>
            <a:off x="7335641" y="1685602"/>
            <a:ext cx="667340" cy="667340"/>
          </a:xfrm>
          <a:prstGeom prst="ellipse">
            <a:avLst/>
          </a:prstGeom>
          <a:solidFill>
            <a:schemeClr val="bg1"/>
          </a:solidFill>
          <a:ln w="1905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err="1">
              <a:solidFill>
                <a:schemeClr val="bg1"/>
              </a:solidFill>
            </a:endParaRPr>
          </a:p>
        </p:txBody>
      </p:sp>
      <p:pic>
        <p:nvPicPr>
          <p:cNvPr id="82" name="Picture 81">
            <a:extLst>
              <a:ext uri="{FF2B5EF4-FFF2-40B4-BE49-F238E27FC236}">
                <a16:creationId xmlns:a16="http://schemas.microsoft.com/office/drawing/2014/main" id="{A9E18B55-B673-44DE-95B2-E92EBB06263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7449838" y="1792353"/>
            <a:ext cx="453837" cy="453837"/>
          </a:xfrm>
          <a:prstGeom prst="rect">
            <a:avLst/>
          </a:prstGeom>
        </p:spPr>
      </p:pic>
    </p:spTree>
    <p:extLst>
      <p:ext uri="{BB962C8B-B14F-4D97-AF65-F5344CB8AC3E}">
        <p14:creationId xmlns:p14="http://schemas.microsoft.com/office/powerpoint/2010/main" val="1052974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968863-E631-4651-A01C-5A6F4FE6224B}"/>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51C658F8-93AD-489D-AFC3-037A1CCD3221}"/>
              </a:ext>
            </a:extLst>
          </p:cNvPr>
          <p:cNvSpPr>
            <a:spLocks noGrp="1"/>
          </p:cNvSpPr>
          <p:nvPr>
            <p:ph type="body" sz="quarter" idx="27"/>
          </p:nvPr>
        </p:nvSpPr>
        <p:spPr/>
        <p:txBody>
          <a:bodyPr/>
          <a:lstStyle/>
          <a:p>
            <a:endParaRPr lang="en-US"/>
          </a:p>
        </p:txBody>
      </p:sp>
      <p:sp>
        <p:nvSpPr>
          <p:cNvPr id="4" name="Title 3">
            <a:extLst>
              <a:ext uri="{FF2B5EF4-FFF2-40B4-BE49-F238E27FC236}">
                <a16:creationId xmlns:a16="http://schemas.microsoft.com/office/drawing/2014/main" id="{1EDE2EB3-8DA3-44E7-848B-34B5D08969CB}"/>
              </a:ext>
            </a:extLst>
          </p:cNvPr>
          <p:cNvSpPr>
            <a:spLocks noGrp="1"/>
          </p:cNvSpPr>
          <p:nvPr>
            <p:ph type="title"/>
          </p:nvPr>
        </p:nvSpPr>
        <p:spPr/>
        <p:txBody>
          <a:bodyPr/>
          <a:lstStyle/>
          <a:p>
            <a:r>
              <a:rPr lang="en-US"/>
              <a:t>Covid-19 exacerbates impact of existing inequities </a:t>
            </a:r>
          </a:p>
        </p:txBody>
      </p:sp>
      <p:grpSp>
        <p:nvGrpSpPr>
          <p:cNvPr id="10" name="Group 9">
            <a:extLst>
              <a:ext uri="{FF2B5EF4-FFF2-40B4-BE49-F238E27FC236}">
                <a16:creationId xmlns:a16="http://schemas.microsoft.com/office/drawing/2014/main" id="{32AEF861-9711-427B-83D6-DB167E2738F3}"/>
              </a:ext>
            </a:extLst>
          </p:cNvPr>
          <p:cNvGrpSpPr/>
          <p:nvPr/>
        </p:nvGrpSpPr>
        <p:grpSpPr>
          <a:xfrm>
            <a:off x="5604464" y="2319608"/>
            <a:ext cx="830672" cy="830671"/>
            <a:chOff x="5125629" y="2271956"/>
            <a:chExt cx="830672" cy="830671"/>
          </a:xfrm>
        </p:grpSpPr>
        <p:sp>
          <p:nvSpPr>
            <p:cNvPr id="15" name="Oval 14">
              <a:extLst>
                <a:ext uri="{FF2B5EF4-FFF2-40B4-BE49-F238E27FC236}">
                  <a16:creationId xmlns:a16="http://schemas.microsoft.com/office/drawing/2014/main" id="{23339AB7-DA59-4FBF-A412-C37C599A3036}"/>
                </a:ext>
              </a:extLst>
            </p:cNvPr>
            <p:cNvSpPr>
              <a:spLocks noChangeAspect="1"/>
            </p:cNvSpPr>
            <p:nvPr/>
          </p:nvSpPr>
          <p:spPr bwMode="gray">
            <a:xfrm>
              <a:off x="5125629" y="2271956"/>
              <a:ext cx="830672" cy="830671"/>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pic>
          <p:nvPicPr>
            <p:cNvPr id="16" name="Picture 15">
              <a:extLst>
                <a:ext uri="{FF2B5EF4-FFF2-40B4-BE49-F238E27FC236}">
                  <a16:creationId xmlns:a16="http://schemas.microsoft.com/office/drawing/2014/main" id="{4A9F0CA1-CB5F-4B7F-9147-0759831C31B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264323" y="2405054"/>
              <a:ext cx="553283" cy="553283"/>
            </a:xfrm>
            <a:prstGeom prst="rect">
              <a:avLst/>
            </a:prstGeom>
          </p:spPr>
        </p:pic>
      </p:grpSp>
      <p:cxnSp>
        <p:nvCxnSpPr>
          <p:cNvPr id="20" name="Straight Connector 19">
            <a:extLst>
              <a:ext uri="{FF2B5EF4-FFF2-40B4-BE49-F238E27FC236}">
                <a16:creationId xmlns:a16="http://schemas.microsoft.com/office/drawing/2014/main" id="{DE6BB311-E45B-434F-AE67-7C3F93CBAA66}"/>
              </a:ext>
            </a:extLst>
          </p:cNvPr>
          <p:cNvCxnSpPr/>
          <p:nvPr/>
        </p:nvCxnSpPr>
        <p:spPr bwMode="gray">
          <a:xfrm>
            <a:off x="11576428" y="6756400"/>
            <a:ext cx="10972800" cy="0"/>
          </a:xfrm>
          <a:prstGeom prst="line">
            <a:avLst/>
          </a:prstGeom>
          <a:ln w="15875">
            <a:solidFill>
              <a:schemeClr val="accent2"/>
            </a:solidFill>
            <a:prstDash val="sysDot"/>
            <a:headEnd type="none" w="med" len="med"/>
            <a:tailEnd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92DAEEF-7D56-427A-AAFA-60C8AE47705A}"/>
              </a:ext>
            </a:extLst>
          </p:cNvPr>
          <p:cNvSpPr txBox="1"/>
          <p:nvPr/>
        </p:nvSpPr>
        <p:spPr bwMode="gray">
          <a:xfrm>
            <a:off x="2878912" y="1584289"/>
            <a:ext cx="6434175" cy="246221"/>
          </a:xfrm>
          <a:prstGeom prst="rect">
            <a:avLst/>
          </a:prstGeom>
          <a:solidFill>
            <a:schemeClr val="bg1"/>
          </a:solidFill>
        </p:spPr>
        <p:txBody>
          <a:bodyPr vert="horz" wrap="square" lIns="0" tIns="0" rIns="0" bIns="0" rtlCol="0">
            <a:spAutoFit/>
          </a:bodyPr>
          <a:lstStyle/>
          <a:p>
            <a:pPr marL="0" lvl="1" algn="ctr">
              <a:spcBef>
                <a:spcPts val="600"/>
              </a:spcBef>
            </a:pPr>
            <a:r>
              <a:rPr lang="en-US" sz="1600" b="1"/>
              <a:t>Aspects of daily life that require more technology due to Covid-19</a:t>
            </a:r>
          </a:p>
        </p:txBody>
      </p:sp>
      <p:sp>
        <p:nvSpPr>
          <p:cNvPr id="28" name="TextBox 27">
            <a:extLst>
              <a:ext uri="{FF2B5EF4-FFF2-40B4-BE49-F238E27FC236}">
                <a16:creationId xmlns:a16="http://schemas.microsoft.com/office/drawing/2014/main" id="{F619036A-6286-41D4-B509-56F669AF385F}"/>
              </a:ext>
            </a:extLst>
          </p:cNvPr>
          <p:cNvSpPr txBox="1"/>
          <p:nvPr/>
        </p:nvSpPr>
        <p:spPr bwMode="gray">
          <a:xfrm>
            <a:off x="2070099" y="3300154"/>
            <a:ext cx="851252" cy="230832"/>
          </a:xfrm>
          <a:prstGeom prst="rect">
            <a:avLst/>
          </a:prstGeom>
        </p:spPr>
        <p:txBody>
          <a:bodyPr vert="horz" wrap="square" lIns="0" tIns="0" rIns="0" bIns="0" rtlCol="0">
            <a:spAutoFit/>
          </a:bodyPr>
          <a:lstStyle/>
          <a:p>
            <a:pPr>
              <a:spcBef>
                <a:spcPts val="600"/>
              </a:spcBef>
              <a:buClr>
                <a:schemeClr val="accent6"/>
              </a:buClr>
            </a:pPr>
            <a:r>
              <a:rPr lang="en-US" sz="1500"/>
              <a:t>Education</a:t>
            </a:r>
          </a:p>
        </p:txBody>
      </p:sp>
      <p:sp>
        <p:nvSpPr>
          <p:cNvPr id="29" name="TextBox 28">
            <a:extLst>
              <a:ext uri="{FF2B5EF4-FFF2-40B4-BE49-F238E27FC236}">
                <a16:creationId xmlns:a16="http://schemas.microsoft.com/office/drawing/2014/main" id="{2D984A02-E562-4C3E-848A-E2C84C0E7475}"/>
              </a:ext>
            </a:extLst>
          </p:cNvPr>
          <p:cNvSpPr txBox="1"/>
          <p:nvPr/>
        </p:nvSpPr>
        <p:spPr bwMode="gray">
          <a:xfrm>
            <a:off x="3363627" y="5075568"/>
            <a:ext cx="1703815" cy="230832"/>
          </a:xfrm>
          <a:prstGeom prst="rect">
            <a:avLst/>
          </a:prstGeom>
        </p:spPr>
        <p:txBody>
          <a:bodyPr vert="horz" wrap="square" lIns="0" tIns="0" rIns="0" bIns="0" rtlCol="0">
            <a:spAutoFit/>
          </a:bodyPr>
          <a:lstStyle/>
          <a:p>
            <a:pPr>
              <a:spcBef>
                <a:spcPts val="600"/>
              </a:spcBef>
              <a:buClr>
                <a:schemeClr val="accent6"/>
              </a:buClr>
            </a:pPr>
            <a:r>
              <a:rPr lang="en-US" sz="1500"/>
              <a:t>Access to groceries</a:t>
            </a:r>
          </a:p>
        </p:txBody>
      </p:sp>
      <p:sp>
        <p:nvSpPr>
          <p:cNvPr id="30" name="TextBox 29">
            <a:extLst>
              <a:ext uri="{FF2B5EF4-FFF2-40B4-BE49-F238E27FC236}">
                <a16:creationId xmlns:a16="http://schemas.microsoft.com/office/drawing/2014/main" id="{7414E7AE-6055-4672-9DCE-449D0E8BE9B4}"/>
              </a:ext>
            </a:extLst>
          </p:cNvPr>
          <p:cNvSpPr txBox="1"/>
          <p:nvPr/>
        </p:nvSpPr>
        <p:spPr bwMode="gray">
          <a:xfrm>
            <a:off x="8950199" y="3289756"/>
            <a:ext cx="1504497" cy="230832"/>
          </a:xfrm>
          <a:prstGeom prst="rect">
            <a:avLst/>
          </a:prstGeom>
        </p:spPr>
        <p:txBody>
          <a:bodyPr vert="horz" wrap="square" lIns="0" tIns="0" rIns="0" bIns="0" rtlCol="0">
            <a:spAutoFit/>
          </a:bodyPr>
          <a:lstStyle/>
          <a:p>
            <a:pPr>
              <a:spcBef>
                <a:spcPts val="600"/>
              </a:spcBef>
              <a:buClr>
                <a:schemeClr val="accent6"/>
              </a:buClr>
            </a:pPr>
            <a:r>
              <a:rPr lang="en-US" sz="1500"/>
              <a:t>Social interaction</a:t>
            </a:r>
          </a:p>
        </p:txBody>
      </p:sp>
      <p:sp>
        <p:nvSpPr>
          <p:cNvPr id="31" name="TextBox 30">
            <a:extLst>
              <a:ext uri="{FF2B5EF4-FFF2-40B4-BE49-F238E27FC236}">
                <a16:creationId xmlns:a16="http://schemas.microsoft.com/office/drawing/2014/main" id="{6684EEDE-D185-4A39-A0F0-A0A6103463FF}"/>
              </a:ext>
            </a:extLst>
          </p:cNvPr>
          <p:cNvSpPr txBox="1"/>
          <p:nvPr/>
        </p:nvSpPr>
        <p:spPr bwMode="gray">
          <a:xfrm>
            <a:off x="5434279" y="3336152"/>
            <a:ext cx="1278160" cy="230832"/>
          </a:xfrm>
          <a:prstGeom prst="rect">
            <a:avLst/>
          </a:prstGeom>
        </p:spPr>
        <p:txBody>
          <a:bodyPr vert="horz" wrap="square" lIns="0" tIns="0" rIns="0" bIns="0" rtlCol="0">
            <a:spAutoFit/>
          </a:bodyPr>
          <a:lstStyle/>
          <a:p>
            <a:pPr>
              <a:spcBef>
                <a:spcPts val="600"/>
              </a:spcBef>
              <a:buClr>
                <a:schemeClr val="accent6"/>
              </a:buClr>
            </a:pPr>
            <a:r>
              <a:rPr lang="en-US" sz="1500"/>
              <a:t>Remote work</a:t>
            </a:r>
          </a:p>
        </p:txBody>
      </p:sp>
      <p:sp>
        <p:nvSpPr>
          <p:cNvPr id="32" name="TextBox 31">
            <a:extLst>
              <a:ext uri="{FF2B5EF4-FFF2-40B4-BE49-F238E27FC236}">
                <a16:creationId xmlns:a16="http://schemas.microsoft.com/office/drawing/2014/main" id="{EC110C46-3EAE-4C9D-951C-4470E17B7EDD}"/>
              </a:ext>
            </a:extLst>
          </p:cNvPr>
          <p:cNvSpPr txBox="1"/>
          <p:nvPr/>
        </p:nvSpPr>
        <p:spPr bwMode="gray">
          <a:xfrm>
            <a:off x="7695879" y="5075568"/>
            <a:ext cx="951089" cy="230832"/>
          </a:xfrm>
          <a:prstGeom prst="rect">
            <a:avLst/>
          </a:prstGeom>
        </p:spPr>
        <p:txBody>
          <a:bodyPr vert="horz" wrap="square" lIns="0" tIns="0" rIns="0" bIns="0" rtlCol="0">
            <a:spAutoFit/>
          </a:bodyPr>
          <a:lstStyle/>
          <a:p>
            <a:pPr>
              <a:spcBef>
                <a:spcPts val="600"/>
              </a:spcBef>
              <a:buClr>
                <a:schemeClr val="accent6"/>
              </a:buClr>
            </a:pPr>
            <a:r>
              <a:rPr lang="en-US" sz="1500"/>
              <a:t>Telehealth </a:t>
            </a:r>
          </a:p>
        </p:txBody>
      </p:sp>
      <p:grpSp>
        <p:nvGrpSpPr>
          <p:cNvPr id="9" name="Group 8">
            <a:extLst>
              <a:ext uri="{FF2B5EF4-FFF2-40B4-BE49-F238E27FC236}">
                <a16:creationId xmlns:a16="http://schemas.microsoft.com/office/drawing/2014/main" id="{82AC22D6-283D-46B3-9BDB-DFF23F84C070}"/>
              </a:ext>
            </a:extLst>
          </p:cNvPr>
          <p:cNvGrpSpPr/>
          <p:nvPr/>
        </p:nvGrpSpPr>
        <p:grpSpPr>
          <a:xfrm>
            <a:off x="2070099" y="2285112"/>
            <a:ext cx="845125" cy="845124"/>
            <a:chOff x="1409134" y="2257503"/>
            <a:chExt cx="845125" cy="845124"/>
          </a:xfrm>
        </p:grpSpPr>
        <p:sp>
          <p:nvSpPr>
            <p:cNvPr id="57" name="Oval 56">
              <a:extLst>
                <a:ext uri="{FF2B5EF4-FFF2-40B4-BE49-F238E27FC236}">
                  <a16:creationId xmlns:a16="http://schemas.microsoft.com/office/drawing/2014/main" id="{9C4BD21C-DFCF-41F4-9928-D37EF0FDD2B3}"/>
                </a:ext>
              </a:extLst>
            </p:cNvPr>
            <p:cNvSpPr>
              <a:spLocks noChangeAspect="1"/>
            </p:cNvSpPr>
            <p:nvPr/>
          </p:nvSpPr>
          <p:spPr bwMode="gray">
            <a:xfrm>
              <a:off x="1409134" y="2257503"/>
              <a:ext cx="845125" cy="845124"/>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pic>
          <p:nvPicPr>
            <p:cNvPr id="58" name="Picture 57">
              <a:extLst>
                <a:ext uri="{FF2B5EF4-FFF2-40B4-BE49-F238E27FC236}">
                  <a16:creationId xmlns:a16="http://schemas.microsoft.com/office/drawing/2014/main" id="{0C9F63B6-FF53-45A4-B9C1-E43ADE641F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507032" y="2361790"/>
              <a:ext cx="649327" cy="649327"/>
            </a:xfrm>
            <a:prstGeom prst="rect">
              <a:avLst/>
            </a:prstGeom>
          </p:spPr>
        </p:pic>
      </p:grpSp>
      <p:grpSp>
        <p:nvGrpSpPr>
          <p:cNvPr id="11" name="Group 10">
            <a:extLst>
              <a:ext uri="{FF2B5EF4-FFF2-40B4-BE49-F238E27FC236}">
                <a16:creationId xmlns:a16="http://schemas.microsoft.com/office/drawing/2014/main" id="{C1F02CBE-F9C2-4B67-A8C3-F00202EFAFCF}"/>
              </a:ext>
            </a:extLst>
          </p:cNvPr>
          <p:cNvGrpSpPr/>
          <p:nvPr/>
        </p:nvGrpSpPr>
        <p:grpSpPr>
          <a:xfrm>
            <a:off x="9291229" y="2271956"/>
            <a:ext cx="830672" cy="830671"/>
            <a:chOff x="9291229" y="2271956"/>
            <a:chExt cx="830672" cy="830671"/>
          </a:xfrm>
        </p:grpSpPr>
        <p:sp>
          <p:nvSpPr>
            <p:cNvPr id="59" name="Oval 58">
              <a:extLst>
                <a:ext uri="{FF2B5EF4-FFF2-40B4-BE49-F238E27FC236}">
                  <a16:creationId xmlns:a16="http://schemas.microsoft.com/office/drawing/2014/main" id="{21ADD0C3-A3E3-4566-B06C-48DC9AE26A18}"/>
                </a:ext>
              </a:extLst>
            </p:cNvPr>
            <p:cNvSpPr>
              <a:spLocks noChangeAspect="1"/>
            </p:cNvSpPr>
            <p:nvPr/>
          </p:nvSpPr>
          <p:spPr bwMode="gray">
            <a:xfrm>
              <a:off x="9291229" y="2271956"/>
              <a:ext cx="830672" cy="830671"/>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pic>
          <p:nvPicPr>
            <p:cNvPr id="60" name="Picture 59">
              <a:extLst>
                <a:ext uri="{FF2B5EF4-FFF2-40B4-BE49-F238E27FC236}">
                  <a16:creationId xmlns:a16="http://schemas.microsoft.com/office/drawing/2014/main" id="{CF492B3A-A9EB-4778-83E2-3F5BFDD9C72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398117" y="2474323"/>
              <a:ext cx="608659" cy="510050"/>
            </a:xfrm>
            <a:prstGeom prst="rect">
              <a:avLst/>
            </a:prstGeom>
          </p:spPr>
        </p:pic>
      </p:grpSp>
      <p:grpSp>
        <p:nvGrpSpPr>
          <p:cNvPr id="12" name="Group 11">
            <a:extLst>
              <a:ext uri="{FF2B5EF4-FFF2-40B4-BE49-F238E27FC236}">
                <a16:creationId xmlns:a16="http://schemas.microsoft.com/office/drawing/2014/main" id="{63AE64A2-3280-4E47-9F95-8FD53EBF3552}"/>
              </a:ext>
            </a:extLst>
          </p:cNvPr>
          <p:cNvGrpSpPr/>
          <p:nvPr/>
        </p:nvGrpSpPr>
        <p:grpSpPr>
          <a:xfrm>
            <a:off x="3766596" y="4001414"/>
            <a:ext cx="830672" cy="830671"/>
            <a:chOff x="2969527" y="4001414"/>
            <a:chExt cx="830672" cy="830671"/>
          </a:xfrm>
        </p:grpSpPr>
        <p:sp>
          <p:nvSpPr>
            <p:cNvPr id="61" name="Oval 60">
              <a:extLst>
                <a:ext uri="{FF2B5EF4-FFF2-40B4-BE49-F238E27FC236}">
                  <a16:creationId xmlns:a16="http://schemas.microsoft.com/office/drawing/2014/main" id="{61E3022F-8B00-4339-8B2A-D51D9A74FD6A}"/>
                </a:ext>
              </a:extLst>
            </p:cNvPr>
            <p:cNvSpPr>
              <a:spLocks noChangeAspect="1"/>
            </p:cNvSpPr>
            <p:nvPr/>
          </p:nvSpPr>
          <p:spPr bwMode="gray">
            <a:xfrm>
              <a:off x="2969527" y="4001414"/>
              <a:ext cx="830672" cy="830671"/>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pic>
          <p:nvPicPr>
            <p:cNvPr id="62" name="Picture 61">
              <a:extLst>
                <a:ext uri="{FF2B5EF4-FFF2-40B4-BE49-F238E27FC236}">
                  <a16:creationId xmlns:a16="http://schemas.microsoft.com/office/drawing/2014/main" id="{B9CE7BF4-62EC-4310-8AD4-E15BF2FB76B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071422" y="4204372"/>
              <a:ext cx="576082" cy="478297"/>
            </a:xfrm>
            <a:prstGeom prst="rect">
              <a:avLst/>
            </a:prstGeom>
          </p:spPr>
        </p:pic>
      </p:grpSp>
      <p:grpSp>
        <p:nvGrpSpPr>
          <p:cNvPr id="13" name="Group 12">
            <a:extLst>
              <a:ext uri="{FF2B5EF4-FFF2-40B4-BE49-F238E27FC236}">
                <a16:creationId xmlns:a16="http://schemas.microsoft.com/office/drawing/2014/main" id="{204F04B7-122A-4C06-8B2E-F9C3D3B99E1E}"/>
              </a:ext>
            </a:extLst>
          </p:cNvPr>
          <p:cNvGrpSpPr/>
          <p:nvPr/>
        </p:nvGrpSpPr>
        <p:grpSpPr>
          <a:xfrm>
            <a:off x="7695879" y="4001414"/>
            <a:ext cx="830672" cy="830671"/>
            <a:chOff x="7295549" y="4001414"/>
            <a:chExt cx="830672" cy="830671"/>
          </a:xfrm>
        </p:grpSpPr>
        <p:sp>
          <p:nvSpPr>
            <p:cNvPr id="63" name="Oval 62">
              <a:extLst>
                <a:ext uri="{FF2B5EF4-FFF2-40B4-BE49-F238E27FC236}">
                  <a16:creationId xmlns:a16="http://schemas.microsoft.com/office/drawing/2014/main" id="{6260AA9F-2F18-4F1F-94AC-AAC3109F3375}"/>
                </a:ext>
              </a:extLst>
            </p:cNvPr>
            <p:cNvSpPr>
              <a:spLocks noChangeAspect="1"/>
            </p:cNvSpPr>
            <p:nvPr/>
          </p:nvSpPr>
          <p:spPr bwMode="gray">
            <a:xfrm>
              <a:off x="7295549" y="4001414"/>
              <a:ext cx="830672" cy="830671"/>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pic>
          <p:nvPicPr>
            <p:cNvPr id="64" name="Picture 63">
              <a:extLst>
                <a:ext uri="{FF2B5EF4-FFF2-40B4-BE49-F238E27FC236}">
                  <a16:creationId xmlns:a16="http://schemas.microsoft.com/office/drawing/2014/main" id="{5E1175F6-DE94-449E-8052-3C6BF1BCA71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370032" y="4158528"/>
              <a:ext cx="663856" cy="502920"/>
            </a:xfrm>
            <a:prstGeom prst="rect">
              <a:avLst/>
            </a:prstGeom>
          </p:spPr>
        </p:pic>
      </p:grpSp>
    </p:spTree>
    <p:extLst>
      <p:ext uri="{BB962C8B-B14F-4D97-AF65-F5344CB8AC3E}">
        <p14:creationId xmlns:p14="http://schemas.microsoft.com/office/powerpoint/2010/main" val="270220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C32427-7982-4248-B80B-1A530622436E}"/>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4DFB9496-4DB5-4352-9768-7F054B28C2D5}"/>
              </a:ext>
            </a:extLst>
          </p:cNvPr>
          <p:cNvSpPr>
            <a:spLocks noGrp="1"/>
          </p:cNvSpPr>
          <p:nvPr>
            <p:ph type="body" sz="quarter" idx="27"/>
          </p:nvPr>
        </p:nvSpPr>
        <p:spPr>
          <a:xfrm>
            <a:off x="8064500" y="5413715"/>
            <a:ext cx="3511930" cy="754053"/>
          </a:xfrm>
        </p:spPr>
        <p:txBody>
          <a:bodyPr/>
          <a:lstStyle/>
          <a:p>
            <a:r>
              <a:rPr lang="en-US"/>
              <a:t>Source: “</a:t>
            </a:r>
            <a:r>
              <a:rPr lang="en-US">
                <a:hlinkClick r:id="rId3"/>
              </a:rPr>
              <a:t>Change healthcare-HCEG research: Covid-19 reshuffles healthcare executives’ priorities</a:t>
            </a:r>
            <a:r>
              <a:rPr lang="en-US"/>
              <a:t>”, Business Wire, September 2020; </a:t>
            </a:r>
            <a:r>
              <a:rPr lang="en-US" err="1"/>
              <a:t>Gelbaugh</a:t>
            </a:r>
            <a:r>
              <a:rPr lang="en-US"/>
              <a:t> C, </a:t>
            </a:r>
            <a:r>
              <a:rPr lang="en-US">
                <a:hlinkClick r:id="rId4"/>
              </a:rPr>
              <a:t>“2021 strategic planner survey results,” </a:t>
            </a:r>
            <a:r>
              <a:rPr lang="en-US"/>
              <a:t>Advisory Board, March 2021; “</a:t>
            </a:r>
            <a:r>
              <a:rPr lang="en-US">
                <a:hlinkClick r:id="rId5"/>
              </a:rPr>
              <a:t>2021 BDO healthcare CFO outlook survey</a:t>
            </a:r>
            <a:r>
              <a:rPr lang="en-US"/>
              <a:t>,” BDO; “</a:t>
            </a:r>
            <a:r>
              <a:rPr lang="en-US">
                <a:hlinkClick r:id="rId6"/>
              </a:rPr>
              <a:t>Large U.S. employers accelerating adoption of virtual care, mental health services for 2021, Business Group on Health survey finds</a:t>
            </a:r>
            <a:r>
              <a:rPr lang="en-US"/>
              <a:t>,” Business Group on Health, August 2020. </a:t>
            </a:r>
          </a:p>
        </p:txBody>
      </p:sp>
      <p:sp>
        <p:nvSpPr>
          <p:cNvPr id="4" name="Title 3">
            <a:extLst>
              <a:ext uri="{FF2B5EF4-FFF2-40B4-BE49-F238E27FC236}">
                <a16:creationId xmlns:a16="http://schemas.microsoft.com/office/drawing/2014/main" id="{23BC9183-6F5D-4256-8473-6BEE068195C5}"/>
              </a:ext>
            </a:extLst>
          </p:cNvPr>
          <p:cNvSpPr>
            <a:spLocks noGrp="1"/>
          </p:cNvSpPr>
          <p:nvPr>
            <p:ph type="title"/>
          </p:nvPr>
        </p:nvSpPr>
        <p:spPr/>
        <p:txBody>
          <a:bodyPr/>
          <a:lstStyle/>
          <a:p>
            <a:r>
              <a:rPr lang="en-US"/>
              <a:t>Digital transformation is a top health care priority… </a:t>
            </a:r>
          </a:p>
        </p:txBody>
      </p:sp>
      <p:grpSp>
        <p:nvGrpSpPr>
          <p:cNvPr id="14" name="Group 13">
            <a:extLst>
              <a:ext uri="{FF2B5EF4-FFF2-40B4-BE49-F238E27FC236}">
                <a16:creationId xmlns:a16="http://schemas.microsoft.com/office/drawing/2014/main" id="{F2CFBFA5-7000-420F-BA99-F6722AA669C1}"/>
              </a:ext>
            </a:extLst>
          </p:cNvPr>
          <p:cNvGrpSpPr/>
          <p:nvPr/>
        </p:nvGrpSpPr>
        <p:grpSpPr>
          <a:xfrm>
            <a:off x="5899758" y="1739899"/>
            <a:ext cx="4989092" cy="3725915"/>
            <a:chOff x="5905639" y="1566042"/>
            <a:chExt cx="4989092" cy="3725915"/>
          </a:xfrm>
        </p:grpSpPr>
        <p:sp>
          <p:nvSpPr>
            <p:cNvPr id="7" name="Text Placeholder">
              <a:extLst>
                <a:ext uri="{FF2B5EF4-FFF2-40B4-BE49-F238E27FC236}">
                  <a16:creationId xmlns:a16="http://schemas.microsoft.com/office/drawing/2014/main" id="{37E5426F-458A-4D89-A909-E5582187ED21}"/>
                </a:ext>
              </a:extLst>
            </p:cNvPr>
            <p:cNvSpPr txBox="1">
              <a:spLocks/>
            </p:cNvSpPr>
            <p:nvPr/>
          </p:nvSpPr>
          <p:spPr bwMode="gray">
            <a:xfrm>
              <a:off x="7235472" y="4020340"/>
              <a:ext cx="3653867" cy="461665"/>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571"/>
                </a:spcBef>
                <a:spcAft>
                  <a:spcPts val="0"/>
                </a:spcAft>
                <a:buClr>
                  <a:srgbClr val="CE0E2D"/>
                </a:buClr>
                <a:buSzTx/>
                <a:buFont typeface="Arial" panose="020B0604020202020204" pitchFamily="34" charset="0"/>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Of surveyed employers are accelerating telehealth and virtual care offerings</a:t>
              </a:r>
              <a:endParaRPr kumimoji="0" lang="en-US" sz="1500" b="0" i="0" u="none" strike="noStrike" kern="1200" cap="none" spc="0" normalizeH="0" baseline="0" noProof="0">
                <a:ln>
                  <a:noFill/>
                </a:ln>
                <a:solidFill>
                  <a:srgbClr val="CE0E2D"/>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4F015078-D2FC-4FD7-B8FD-6303A4A1EA24}"/>
                </a:ext>
              </a:extLst>
            </p:cNvPr>
            <p:cNvSpPr txBox="1"/>
            <p:nvPr/>
          </p:nvSpPr>
          <p:spPr bwMode="gray">
            <a:xfrm>
              <a:off x="6060938" y="1739900"/>
              <a:ext cx="178471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41"/>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Purchasers</a:t>
              </a:r>
            </a:p>
          </p:txBody>
        </p:sp>
        <p:sp>
          <p:nvSpPr>
            <p:cNvPr id="13" name="Rectangle 12">
              <a:extLst>
                <a:ext uri="{FF2B5EF4-FFF2-40B4-BE49-F238E27FC236}">
                  <a16:creationId xmlns:a16="http://schemas.microsoft.com/office/drawing/2014/main" id="{D693FF18-E589-416A-A3B1-38D85528F559}"/>
                </a:ext>
              </a:extLst>
            </p:cNvPr>
            <p:cNvSpPr/>
            <p:nvPr/>
          </p:nvSpPr>
          <p:spPr>
            <a:xfrm>
              <a:off x="6056870" y="3913495"/>
              <a:ext cx="1031051"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71%</a:t>
              </a:r>
              <a:endParaRPr kumimoji="0" lang="en-US" sz="3600" b="0" i="0" u="none" strike="noStrike" kern="1200" cap="none" spc="0" normalizeH="0" baseline="0" noProof="0">
                <a:ln>
                  <a:noFill/>
                </a:ln>
                <a:solidFill>
                  <a:srgbClr val="323E48"/>
                </a:solidFill>
                <a:effectLst/>
                <a:uLnTx/>
                <a:uFillTx/>
                <a:latin typeface="Times New Roman" panose="02020603050405020304"/>
                <a:ea typeface="+mn-ea"/>
                <a:cs typeface="+mn-cs"/>
              </a:endParaRPr>
            </a:p>
          </p:txBody>
        </p:sp>
        <p:sp>
          <p:nvSpPr>
            <p:cNvPr id="15" name="Rectangle 14">
              <a:extLst>
                <a:ext uri="{FF2B5EF4-FFF2-40B4-BE49-F238E27FC236}">
                  <a16:creationId xmlns:a16="http://schemas.microsoft.com/office/drawing/2014/main" id="{FE5BC46A-EF03-477D-9ED5-D603ACEA85CC}"/>
                </a:ext>
              </a:extLst>
            </p:cNvPr>
            <p:cNvSpPr/>
            <p:nvPr/>
          </p:nvSpPr>
          <p:spPr>
            <a:xfrm>
              <a:off x="6056871" y="2298175"/>
              <a:ext cx="1031051"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67%</a:t>
              </a:r>
              <a:endParaRPr kumimoji="0" lang="en-US" sz="3600" b="0" i="0" u="none" strike="noStrike" kern="1200" cap="none" spc="0" normalizeH="0" baseline="0" noProof="0">
                <a:ln>
                  <a:noFill/>
                </a:ln>
                <a:solidFill>
                  <a:srgbClr val="323E48"/>
                </a:solidFill>
                <a:effectLst/>
                <a:uLnTx/>
                <a:uFillTx/>
                <a:latin typeface="Times New Roman" panose="02020603050405020304"/>
                <a:ea typeface="+mn-ea"/>
                <a:cs typeface="+mn-cs"/>
              </a:endParaRPr>
            </a:p>
          </p:txBody>
        </p:sp>
        <p:sp>
          <p:nvSpPr>
            <p:cNvPr id="16" name="Text Placeholder">
              <a:extLst>
                <a:ext uri="{FF2B5EF4-FFF2-40B4-BE49-F238E27FC236}">
                  <a16:creationId xmlns:a16="http://schemas.microsoft.com/office/drawing/2014/main" id="{7AC63A59-F654-49E5-971D-E0F181FFF10B}"/>
                </a:ext>
              </a:extLst>
            </p:cNvPr>
            <p:cNvSpPr txBox="1">
              <a:spLocks/>
            </p:cNvSpPr>
            <p:nvPr/>
          </p:nvSpPr>
          <p:spPr bwMode="gray">
            <a:xfrm>
              <a:off x="7235472" y="2435504"/>
              <a:ext cx="3653867" cy="692497"/>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571"/>
                </a:spcBef>
                <a:spcAft>
                  <a:spcPts val="0"/>
                </a:spcAft>
                <a:buClr>
                  <a:srgbClr val="CE0E2D"/>
                </a:buClr>
                <a:buSzTx/>
                <a:buFont typeface="Arial" panose="020B0604020202020204" pitchFamily="34" charset="0"/>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Of payers said the pandemic has caused them to increase their outlook for investment in health care IT</a:t>
              </a:r>
              <a:endParaRPr kumimoji="0" lang="en-US" sz="1500" b="0" i="0" u="none" strike="noStrike" kern="1200" cap="none" spc="0" normalizeH="0" baseline="0" noProof="0">
                <a:ln>
                  <a:noFill/>
                </a:ln>
                <a:solidFill>
                  <a:srgbClr val="CE0E2D"/>
                </a:solidFill>
                <a:effectLst/>
                <a:uLnTx/>
                <a:uFillTx/>
                <a:latin typeface="Arial" panose="020B0604020202020204"/>
                <a:ea typeface="+mn-ea"/>
                <a:cs typeface="+mn-cs"/>
              </a:endParaRPr>
            </a:p>
          </p:txBody>
        </p:sp>
        <p:sp>
          <p:nvSpPr>
            <p:cNvPr id="21" name="Freeform 8">
              <a:extLst>
                <a:ext uri="{FF2B5EF4-FFF2-40B4-BE49-F238E27FC236}">
                  <a16:creationId xmlns:a16="http://schemas.microsoft.com/office/drawing/2014/main" id="{6E7AA9C6-77C6-4CEC-B406-73C4DEF531E9}"/>
                </a:ext>
              </a:extLst>
            </p:cNvPr>
            <p:cNvSpPr/>
            <p:nvPr/>
          </p:nvSpPr>
          <p:spPr bwMode="gray">
            <a:xfrm>
              <a:off x="5909320" y="1566042"/>
              <a:ext cx="4980019" cy="3725915"/>
            </a:xfrm>
            <a:custGeom>
              <a:avLst/>
              <a:gdLst>
                <a:gd name="connsiteX0" fmla="*/ 0 w 755703"/>
                <a:gd name="connsiteY0" fmla="*/ 0 h 755703"/>
                <a:gd name="connsiteX1" fmla="*/ 755703 w 755703"/>
                <a:gd name="connsiteY1" fmla="*/ 0 h 755703"/>
                <a:gd name="connsiteX2" fmla="*/ 755703 w 755703"/>
                <a:gd name="connsiteY2" fmla="*/ 755703 h 755703"/>
                <a:gd name="connsiteX3" fmla="*/ 0 w 755703"/>
                <a:gd name="connsiteY3" fmla="*/ 755703 h 755703"/>
                <a:gd name="connsiteX4" fmla="*/ 0 w 755703"/>
                <a:gd name="connsiteY4" fmla="*/ 0 h 755703"/>
                <a:gd name="connsiteX0" fmla="*/ 755703 w 847143"/>
                <a:gd name="connsiteY0" fmla="*/ 755703 h 847143"/>
                <a:gd name="connsiteX1" fmla="*/ 0 w 847143"/>
                <a:gd name="connsiteY1" fmla="*/ 755703 h 847143"/>
                <a:gd name="connsiteX2" fmla="*/ 0 w 847143"/>
                <a:gd name="connsiteY2" fmla="*/ 0 h 847143"/>
                <a:gd name="connsiteX3" fmla="*/ 755703 w 847143"/>
                <a:gd name="connsiteY3" fmla="*/ 0 h 847143"/>
                <a:gd name="connsiteX4" fmla="*/ 847143 w 847143"/>
                <a:gd name="connsiteY4" fmla="*/ 847143 h 847143"/>
                <a:gd name="connsiteX0" fmla="*/ 755703 w 755703"/>
                <a:gd name="connsiteY0" fmla="*/ 755703 h 755703"/>
                <a:gd name="connsiteX1" fmla="*/ 0 w 755703"/>
                <a:gd name="connsiteY1" fmla="*/ 755703 h 755703"/>
                <a:gd name="connsiteX2" fmla="*/ 0 w 755703"/>
                <a:gd name="connsiteY2" fmla="*/ 0 h 755703"/>
                <a:gd name="connsiteX3" fmla="*/ 755703 w 755703"/>
                <a:gd name="connsiteY3" fmla="*/ 0 h 755703"/>
                <a:gd name="connsiteX0" fmla="*/ 0 w 755703"/>
                <a:gd name="connsiteY0" fmla="*/ 755703 h 755703"/>
                <a:gd name="connsiteX1" fmla="*/ 0 w 755703"/>
                <a:gd name="connsiteY1" fmla="*/ 0 h 755703"/>
                <a:gd name="connsiteX2" fmla="*/ 755703 w 755703"/>
                <a:gd name="connsiteY2" fmla="*/ 0 h 755703"/>
              </a:gdLst>
              <a:ahLst/>
              <a:cxnLst>
                <a:cxn ang="0">
                  <a:pos x="connsiteX0" y="connsiteY0"/>
                </a:cxn>
                <a:cxn ang="0">
                  <a:pos x="connsiteX1" y="connsiteY1"/>
                </a:cxn>
                <a:cxn ang="0">
                  <a:pos x="connsiteX2" y="connsiteY2"/>
                </a:cxn>
              </a:cxnLst>
              <a:rect l="l" t="t" r="r" b="b"/>
              <a:pathLst>
                <a:path w="755703" h="755703">
                  <a:moveTo>
                    <a:pt x="0" y="755703"/>
                  </a:moveTo>
                  <a:lnTo>
                    <a:pt x="0" y="0"/>
                  </a:lnTo>
                  <a:lnTo>
                    <a:pt x="755703" y="0"/>
                  </a:lnTo>
                </a:path>
              </a:pathLst>
            </a:custGeom>
            <a:noFill/>
            <a:ln w="19050" cap="flat" cmpd="sng" algn="ctr">
              <a:solidFill>
                <a:schemeClr val="bg1">
                  <a:lumMod val="75000"/>
                </a:schemeClr>
              </a:solidFill>
              <a:prstDash val="solid"/>
              <a:miter lim="800000"/>
              <a:headEnd type="none" w="med" len="med"/>
              <a:tailEnd type="none" w="med" len="med"/>
            </a:ln>
            <a:effectLst/>
          </p:spPr>
          <p:txBody>
            <a:bodyPr vert="horz" wrap="square" lIns="130629" tIns="65315" rIns="130629" bIns="65315" numCol="1" rtlCol="0" anchor="t" anchorCtr="0" compatLnSpc="1">
              <a:prstTxWarp prst="textNoShape">
                <a:avLst/>
              </a:prstTxWarp>
            </a:bodyPr>
            <a:lstStyle>
              <a:defPPr>
                <a:defRPr lang="en-US"/>
              </a:defPPr>
              <a:lvl1pPr algn="ctr" rtl="0" fontAlgn="base">
                <a:spcBef>
                  <a:spcPct val="0"/>
                </a:spcBef>
                <a:spcAft>
                  <a:spcPct val="0"/>
                </a:spcAft>
                <a:defRPr sz="1300" kern="1200">
                  <a:solidFill>
                    <a:schemeClr val="tx1"/>
                  </a:solidFill>
                  <a:latin typeface="Arial" charset="0"/>
                  <a:ea typeface="+mn-ea"/>
                  <a:cs typeface="+mn-cs"/>
                </a:defRPr>
              </a:lvl1pPr>
              <a:lvl2pPr marL="204083" algn="ctr" rtl="0" fontAlgn="base">
                <a:spcBef>
                  <a:spcPct val="0"/>
                </a:spcBef>
                <a:spcAft>
                  <a:spcPct val="0"/>
                </a:spcAft>
                <a:defRPr sz="1300" kern="1200">
                  <a:solidFill>
                    <a:schemeClr val="tx1"/>
                  </a:solidFill>
                  <a:latin typeface="Arial" charset="0"/>
                  <a:ea typeface="+mn-ea"/>
                  <a:cs typeface="+mn-cs"/>
                </a:defRPr>
              </a:lvl2pPr>
              <a:lvl3pPr marL="408165" algn="ctr" rtl="0" fontAlgn="base">
                <a:spcBef>
                  <a:spcPct val="0"/>
                </a:spcBef>
                <a:spcAft>
                  <a:spcPct val="0"/>
                </a:spcAft>
                <a:defRPr sz="1300" kern="1200">
                  <a:solidFill>
                    <a:schemeClr val="tx1"/>
                  </a:solidFill>
                  <a:latin typeface="Arial" charset="0"/>
                  <a:ea typeface="+mn-ea"/>
                  <a:cs typeface="+mn-cs"/>
                </a:defRPr>
              </a:lvl3pPr>
              <a:lvl4pPr marL="612248" algn="ctr" rtl="0" fontAlgn="base">
                <a:spcBef>
                  <a:spcPct val="0"/>
                </a:spcBef>
                <a:spcAft>
                  <a:spcPct val="0"/>
                </a:spcAft>
                <a:defRPr sz="1300" kern="1200">
                  <a:solidFill>
                    <a:schemeClr val="tx1"/>
                  </a:solidFill>
                  <a:latin typeface="Arial" charset="0"/>
                  <a:ea typeface="+mn-ea"/>
                  <a:cs typeface="+mn-cs"/>
                </a:defRPr>
              </a:lvl4pPr>
              <a:lvl5pPr marL="816331" algn="ctr" rtl="0" fontAlgn="base">
                <a:spcBef>
                  <a:spcPct val="0"/>
                </a:spcBef>
                <a:spcAft>
                  <a:spcPct val="0"/>
                </a:spcAft>
                <a:defRPr sz="1300" kern="1200">
                  <a:solidFill>
                    <a:schemeClr val="tx1"/>
                  </a:solidFill>
                  <a:latin typeface="Arial" charset="0"/>
                  <a:ea typeface="+mn-ea"/>
                  <a:cs typeface="+mn-cs"/>
                </a:defRPr>
              </a:lvl5pPr>
              <a:lvl6pPr marL="1020413" algn="l" defTabSz="408165" rtl="0" eaLnBrk="1" latinLnBrk="0" hangingPunct="1">
                <a:defRPr sz="1300" kern="1200">
                  <a:solidFill>
                    <a:schemeClr val="tx1"/>
                  </a:solidFill>
                  <a:latin typeface="Arial" charset="0"/>
                  <a:ea typeface="+mn-ea"/>
                  <a:cs typeface="+mn-cs"/>
                </a:defRPr>
              </a:lvl6pPr>
              <a:lvl7pPr marL="1224496" algn="l" defTabSz="408165" rtl="0" eaLnBrk="1" latinLnBrk="0" hangingPunct="1">
                <a:defRPr sz="1300" kern="1200">
                  <a:solidFill>
                    <a:schemeClr val="tx1"/>
                  </a:solidFill>
                  <a:latin typeface="Arial" charset="0"/>
                  <a:ea typeface="+mn-ea"/>
                  <a:cs typeface="+mn-cs"/>
                </a:defRPr>
              </a:lvl7pPr>
              <a:lvl8pPr marL="1428579" algn="l" defTabSz="408165" rtl="0" eaLnBrk="1" latinLnBrk="0" hangingPunct="1">
                <a:defRPr sz="1300" kern="1200">
                  <a:solidFill>
                    <a:schemeClr val="tx1"/>
                  </a:solidFill>
                  <a:latin typeface="Arial" charset="0"/>
                  <a:ea typeface="+mn-ea"/>
                  <a:cs typeface="+mn-cs"/>
                </a:defRPr>
              </a:lvl8pPr>
              <a:lvl9pPr marL="1632661" algn="l" defTabSz="408165" rtl="0" eaLnBrk="1" latinLnBrk="0" hangingPunct="1">
                <a:defRPr sz="1300" kern="1200">
                  <a:solidFill>
                    <a:schemeClr val="tx1"/>
                  </a:solidFill>
                  <a:latin typeface="Arial" charset="0"/>
                  <a:ea typeface="+mn-ea"/>
                  <a:cs typeface="+mn-cs"/>
                </a:defRPr>
              </a:lvl9pPr>
            </a:lstStyle>
            <a:p>
              <a:pPr marL="0" marR="0" lvl="0" indent="0" algn="l" defTabSz="2090954" rtl="0" eaLnBrk="1" fontAlgn="base" latinLnBrk="0" hangingPunct="1">
                <a:lnSpc>
                  <a:spcPct val="100000"/>
                </a:lnSpc>
                <a:spcBef>
                  <a:spcPct val="0"/>
                </a:spcBef>
                <a:spcAft>
                  <a:spcPct val="0"/>
                </a:spcAft>
                <a:buClrTx/>
                <a:buSzTx/>
                <a:buFontTx/>
                <a:buNone/>
                <a:tabLst/>
                <a:defRPr/>
              </a:pPr>
              <a:endParaRPr kumimoji="0" lang="en-US" sz="1143" b="1" i="0" u="none" strike="noStrike" kern="1200" cap="none" spc="0" normalizeH="0" baseline="0" noProof="0">
                <a:ln>
                  <a:noFill/>
                </a:ln>
                <a:solidFill>
                  <a:srgbClr val="E5E5E5"/>
                </a:solidFill>
                <a:effectLst/>
                <a:uLnTx/>
                <a:uFillTx/>
                <a:latin typeface="Arial" panose="020B0604020202020204"/>
                <a:ea typeface="+mn-ea"/>
                <a:cs typeface="+mn-cs"/>
              </a:endParaRPr>
            </a:p>
          </p:txBody>
        </p:sp>
        <p:sp>
          <p:nvSpPr>
            <p:cNvPr id="22" name="Freeform 9">
              <a:extLst>
                <a:ext uri="{FF2B5EF4-FFF2-40B4-BE49-F238E27FC236}">
                  <a16:creationId xmlns:a16="http://schemas.microsoft.com/office/drawing/2014/main" id="{287851B1-A476-44DB-ADC6-0A62147F02E8}"/>
                </a:ext>
              </a:extLst>
            </p:cNvPr>
            <p:cNvSpPr/>
            <p:nvPr/>
          </p:nvSpPr>
          <p:spPr bwMode="gray">
            <a:xfrm>
              <a:off x="5905639" y="1566345"/>
              <a:ext cx="130629" cy="130629"/>
            </a:xfrm>
            <a:custGeom>
              <a:avLst/>
              <a:gdLst>
                <a:gd name="connsiteX0" fmla="*/ 0 w 755703"/>
                <a:gd name="connsiteY0" fmla="*/ 0 h 755703"/>
                <a:gd name="connsiteX1" fmla="*/ 755703 w 755703"/>
                <a:gd name="connsiteY1" fmla="*/ 0 h 755703"/>
                <a:gd name="connsiteX2" fmla="*/ 755703 w 755703"/>
                <a:gd name="connsiteY2" fmla="*/ 755703 h 755703"/>
                <a:gd name="connsiteX3" fmla="*/ 0 w 755703"/>
                <a:gd name="connsiteY3" fmla="*/ 755703 h 755703"/>
                <a:gd name="connsiteX4" fmla="*/ 0 w 755703"/>
                <a:gd name="connsiteY4" fmla="*/ 0 h 755703"/>
                <a:gd name="connsiteX0" fmla="*/ 755703 w 847143"/>
                <a:gd name="connsiteY0" fmla="*/ 755703 h 847143"/>
                <a:gd name="connsiteX1" fmla="*/ 0 w 847143"/>
                <a:gd name="connsiteY1" fmla="*/ 755703 h 847143"/>
                <a:gd name="connsiteX2" fmla="*/ 0 w 847143"/>
                <a:gd name="connsiteY2" fmla="*/ 0 h 847143"/>
                <a:gd name="connsiteX3" fmla="*/ 755703 w 847143"/>
                <a:gd name="connsiteY3" fmla="*/ 0 h 847143"/>
                <a:gd name="connsiteX4" fmla="*/ 847143 w 847143"/>
                <a:gd name="connsiteY4" fmla="*/ 847143 h 847143"/>
                <a:gd name="connsiteX0" fmla="*/ 755703 w 755703"/>
                <a:gd name="connsiteY0" fmla="*/ 755703 h 755703"/>
                <a:gd name="connsiteX1" fmla="*/ 0 w 755703"/>
                <a:gd name="connsiteY1" fmla="*/ 755703 h 755703"/>
                <a:gd name="connsiteX2" fmla="*/ 0 w 755703"/>
                <a:gd name="connsiteY2" fmla="*/ 0 h 755703"/>
                <a:gd name="connsiteX3" fmla="*/ 755703 w 755703"/>
                <a:gd name="connsiteY3" fmla="*/ 0 h 755703"/>
                <a:gd name="connsiteX0" fmla="*/ 0 w 755703"/>
                <a:gd name="connsiteY0" fmla="*/ 755703 h 755703"/>
                <a:gd name="connsiteX1" fmla="*/ 0 w 755703"/>
                <a:gd name="connsiteY1" fmla="*/ 0 h 755703"/>
                <a:gd name="connsiteX2" fmla="*/ 755703 w 755703"/>
                <a:gd name="connsiteY2" fmla="*/ 0 h 755703"/>
              </a:gdLst>
              <a:ahLst/>
              <a:cxnLst>
                <a:cxn ang="0">
                  <a:pos x="connsiteX0" y="connsiteY0"/>
                </a:cxn>
                <a:cxn ang="0">
                  <a:pos x="connsiteX1" y="connsiteY1"/>
                </a:cxn>
                <a:cxn ang="0">
                  <a:pos x="connsiteX2" y="connsiteY2"/>
                </a:cxn>
              </a:cxnLst>
              <a:rect l="l" t="t" r="r" b="b"/>
              <a:pathLst>
                <a:path w="755703" h="755703">
                  <a:moveTo>
                    <a:pt x="0" y="755703"/>
                  </a:moveTo>
                  <a:lnTo>
                    <a:pt x="0" y="0"/>
                  </a:lnTo>
                  <a:lnTo>
                    <a:pt x="755703" y="0"/>
                  </a:lnTo>
                </a:path>
              </a:pathLst>
            </a:custGeom>
            <a:noFill/>
            <a:ln w="38100" cap="flat" cmpd="sng" algn="ctr">
              <a:solidFill>
                <a:schemeClr val="accent6"/>
              </a:solidFill>
              <a:prstDash val="solid"/>
              <a:miter lim="800000"/>
              <a:headEnd type="none" w="med" len="med"/>
              <a:tailEnd type="none" w="med" len="med"/>
            </a:ln>
            <a:effectLst/>
          </p:spPr>
          <p:txBody>
            <a:bodyPr vert="horz" wrap="square" lIns="130629" tIns="65315" rIns="130629" bIns="65315" numCol="1" rtlCol="0" anchor="t" anchorCtr="0" compatLnSpc="1">
              <a:prstTxWarp prst="textNoShape">
                <a:avLst/>
              </a:prstTxWarp>
            </a:bodyPr>
            <a:lstStyle>
              <a:defPPr>
                <a:defRPr lang="en-US"/>
              </a:defPPr>
              <a:lvl1pPr algn="ctr" rtl="0" fontAlgn="base">
                <a:spcBef>
                  <a:spcPct val="0"/>
                </a:spcBef>
                <a:spcAft>
                  <a:spcPct val="0"/>
                </a:spcAft>
                <a:defRPr sz="1300" kern="1200">
                  <a:solidFill>
                    <a:schemeClr val="tx1"/>
                  </a:solidFill>
                  <a:latin typeface="Arial" charset="0"/>
                  <a:ea typeface="+mn-ea"/>
                  <a:cs typeface="+mn-cs"/>
                </a:defRPr>
              </a:lvl1pPr>
              <a:lvl2pPr marL="204083" algn="ctr" rtl="0" fontAlgn="base">
                <a:spcBef>
                  <a:spcPct val="0"/>
                </a:spcBef>
                <a:spcAft>
                  <a:spcPct val="0"/>
                </a:spcAft>
                <a:defRPr sz="1300" kern="1200">
                  <a:solidFill>
                    <a:schemeClr val="tx1"/>
                  </a:solidFill>
                  <a:latin typeface="Arial" charset="0"/>
                  <a:ea typeface="+mn-ea"/>
                  <a:cs typeface="+mn-cs"/>
                </a:defRPr>
              </a:lvl2pPr>
              <a:lvl3pPr marL="408165" algn="ctr" rtl="0" fontAlgn="base">
                <a:spcBef>
                  <a:spcPct val="0"/>
                </a:spcBef>
                <a:spcAft>
                  <a:spcPct val="0"/>
                </a:spcAft>
                <a:defRPr sz="1300" kern="1200">
                  <a:solidFill>
                    <a:schemeClr val="tx1"/>
                  </a:solidFill>
                  <a:latin typeface="Arial" charset="0"/>
                  <a:ea typeface="+mn-ea"/>
                  <a:cs typeface="+mn-cs"/>
                </a:defRPr>
              </a:lvl3pPr>
              <a:lvl4pPr marL="612248" algn="ctr" rtl="0" fontAlgn="base">
                <a:spcBef>
                  <a:spcPct val="0"/>
                </a:spcBef>
                <a:spcAft>
                  <a:spcPct val="0"/>
                </a:spcAft>
                <a:defRPr sz="1300" kern="1200">
                  <a:solidFill>
                    <a:schemeClr val="tx1"/>
                  </a:solidFill>
                  <a:latin typeface="Arial" charset="0"/>
                  <a:ea typeface="+mn-ea"/>
                  <a:cs typeface="+mn-cs"/>
                </a:defRPr>
              </a:lvl4pPr>
              <a:lvl5pPr marL="816331" algn="ctr" rtl="0" fontAlgn="base">
                <a:spcBef>
                  <a:spcPct val="0"/>
                </a:spcBef>
                <a:spcAft>
                  <a:spcPct val="0"/>
                </a:spcAft>
                <a:defRPr sz="1300" kern="1200">
                  <a:solidFill>
                    <a:schemeClr val="tx1"/>
                  </a:solidFill>
                  <a:latin typeface="Arial" charset="0"/>
                  <a:ea typeface="+mn-ea"/>
                  <a:cs typeface="+mn-cs"/>
                </a:defRPr>
              </a:lvl5pPr>
              <a:lvl6pPr marL="1020413" algn="l" defTabSz="408165" rtl="0" eaLnBrk="1" latinLnBrk="0" hangingPunct="1">
                <a:defRPr sz="1300" kern="1200">
                  <a:solidFill>
                    <a:schemeClr val="tx1"/>
                  </a:solidFill>
                  <a:latin typeface="Arial" charset="0"/>
                  <a:ea typeface="+mn-ea"/>
                  <a:cs typeface="+mn-cs"/>
                </a:defRPr>
              </a:lvl6pPr>
              <a:lvl7pPr marL="1224496" algn="l" defTabSz="408165" rtl="0" eaLnBrk="1" latinLnBrk="0" hangingPunct="1">
                <a:defRPr sz="1300" kern="1200">
                  <a:solidFill>
                    <a:schemeClr val="tx1"/>
                  </a:solidFill>
                  <a:latin typeface="Arial" charset="0"/>
                  <a:ea typeface="+mn-ea"/>
                  <a:cs typeface="+mn-cs"/>
                </a:defRPr>
              </a:lvl7pPr>
              <a:lvl8pPr marL="1428579" algn="l" defTabSz="408165" rtl="0" eaLnBrk="1" latinLnBrk="0" hangingPunct="1">
                <a:defRPr sz="1300" kern="1200">
                  <a:solidFill>
                    <a:schemeClr val="tx1"/>
                  </a:solidFill>
                  <a:latin typeface="Arial" charset="0"/>
                  <a:ea typeface="+mn-ea"/>
                  <a:cs typeface="+mn-cs"/>
                </a:defRPr>
              </a:lvl8pPr>
              <a:lvl9pPr marL="1632661" algn="l" defTabSz="408165" rtl="0" eaLnBrk="1" latinLnBrk="0" hangingPunct="1">
                <a:defRPr sz="1300" kern="1200">
                  <a:solidFill>
                    <a:schemeClr val="tx1"/>
                  </a:solidFill>
                  <a:latin typeface="Arial" charset="0"/>
                  <a:ea typeface="+mn-ea"/>
                  <a:cs typeface="+mn-cs"/>
                </a:defRPr>
              </a:lvl9pPr>
            </a:lstStyle>
            <a:p>
              <a:pPr marL="0" marR="0" lvl="0" indent="0" algn="l" defTabSz="2090954" rtl="0" eaLnBrk="1" fontAlgn="base" latinLnBrk="0" hangingPunct="1">
                <a:lnSpc>
                  <a:spcPct val="100000"/>
                </a:lnSpc>
                <a:spcBef>
                  <a:spcPct val="0"/>
                </a:spcBef>
                <a:spcAft>
                  <a:spcPct val="0"/>
                </a:spcAft>
                <a:buClrTx/>
                <a:buSzTx/>
                <a:buFontTx/>
                <a:buNone/>
                <a:tabLst/>
                <a:defRPr/>
              </a:pPr>
              <a:endParaRPr kumimoji="0" lang="en-US" sz="1429" b="1" i="0" u="none" strike="noStrike" kern="1200" cap="none" spc="0" normalizeH="0" baseline="0" noProof="0">
                <a:ln>
                  <a:noFill/>
                </a:ln>
                <a:solidFill>
                  <a:srgbClr val="E5E5E5"/>
                </a:solidFill>
                <a:effectLst/>
                <a:uLnTx/>
                <a:uFillTx/>
                <a:latin typeface="Arial" panose="020B0604020202020204"/>
                <a:ea typeface="+mn-ea"/>
                <a:cs typeface="+mn-cs"/>
              </a:endParaRPr>
            </a:p>
          </p:txBody>
        </p:sp>
        <p:cxnSp>
          <p:nvCxnSpPr>
            <p:cNvPr id="23" name="Straight Connector 22">
              <a:extLst>
                <a:ext uri="{FF2B5EF4-FFF2-40B4-BE49-F238E27FC236}">
                  <a16:creationId xmlns:a16="http://schemas.microsoft.com/office/drawing/2014/main" id="{535BD946-A50E-4CE4-839A-B2C6F6084A37}"/>
                </a:ext>
              </a:extLst>
            </p:cNvPr>
            <p:cNvCxnSpPr/>
            <p:nvPr/>
          </p:nvCxnSpPr>
          <p:spPr bwMode="gray">
            <a:xfrm flipH="1">
              <a:off x="6148995" y="2235663"/>
              <a:ext cx="4745736" cy="0"/>
            </a:xfrm>
            <a:prstGeom prst="line">
              <a:avLst/>
            </a:prstGeom>
            <a:ln w="254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1228CE24-BC6C-4A55-85E0-C8F823F12AFD}"/>
              </a:ext>
            </a:extLst>
          </p:cNvPr>
          <p:cNvGrpSpPr/>
          <p:nvPr/>
        </p:nvGrpSpPr>
        <p:grpSpPr>
          <a:xfrm>
            <a:off x="397110" y="1739900"/>
            <a:ext cx="5232155" cy="3725915"/>
            <a:chOff x="187715" y="1566042"/>
            <a:chExt cx="5232155" cy="3725915"/>
          </a:xfrm>
        </p:grpSpPr>
        <p:sp>
          <p:nvSpPr>
            <p:cNvPr id="5" name="Rectangle 4">
              <a:extLst>
                <a:ext uri="{FF2B5EF4-FFF2-40B4-BE49-F238E27FC236}">
                  <a16:creationId xmlns:a16="http://schemas.microsoft.com/office/drawing/2014/main" id="{F5D06096-D8CD-4F73-B1AC-41282BE1049B}"/>
                </a:ext>
              </a:extLst>
            </p:cNvPr>
            <p:cNvSpPr/>
            <p:nvPr/>
          </p:nvSpPr>
          <p:spPr>
            <a:xfrm>
              <a:off x="600377" y="2298175"/>
              <a:ext cx="646331"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1</a:t>
              </a:r>
              <a:endParaRPr kumimoji="0" lang="en-US" sz="3600" b="0" i="0" u="none" strike="noStrike" kern="1200" cap="none" spc="0" normalizeH="0" baseline="0" noProof="0">
                <a:ln>
                  <a:noFill/>
                </a:ln>
                <a:solidFill>
                  <a:srgbClr val="323E48"/>
                </a:solidFill>
                <a:effectLst/>
                <a:uLnTx/>
                <a:uFillTx/>
                <a:latin typeface="Times New Roman" panose="02020603050405020304"/>
                <a:ea typeface="+mn-ea"/>
                <a:cs typeface="+mn-cs"/>
              </a:endParaRPr>
            </a:p>
          </p:txBody>
        </p:sp>
        <p:sp>
          <p:nvSpPr>
            <p:cNvPr id="6" name="TextBox 5">
              <a:extLst>
                <a:ext uri="{FF2B5EF4-FFF2-40B4-BE49-F238E27FC236}">
                  <a16:creationId xmlns:a16="http://schemas.microsoft.com/office/drawing/2014/main" id="{C3EA6226-8BEF-4D7E-A79D-BDB632FFC3DC}"/>
                </a:ext>
              </a:extLst>
            </p:cNvPr>
            <p:cNvSpPr txBox="1"/>
            <p:nvPr/>
          </p:nvSpPr>
          <p:spPr bwMode="gray">
            <a:xfrm>
              <a:off x="1571714" y="2435504"/>
              <a:ext cx="3368993" cy="461665"/>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Digital transformation is CFO’s top priority for 2021</a:t>
              </a:r>
            </a:p>
          </p:txBody>
        </p:sp>
        <p:sp>
          <p:nvSpPr>
            <p:cNvPr id="8" name="Rectangle 7">
              <a:extLst>
                <a:ext uri="{FF2B5EF4-FFF2-40B4-BE49-F238E27FC236}">
                  <a16:creationId xmlns:a16="http://schemas.microsoft.com/office/drawing/2014/main" id="{98722530-1731-4471-A851-2C4BF0026616}"/>
                </a:ext>
              </a:extLst>
            </p:cNvPr>
            <p:cNvSpPr/>
            <p:nvPr/>
          </p:nvSpPr>
          <p:spPr>
            <a:xfrm>
              <a:off x="540663" y="3928009"/>
              <a:ext cx="1031051"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78%</a:t>
              </a:r>
              <a:endParaRPr kumimoji="0" lang="en-US" sz="3600" b="0" i="0" u="none" strike="noStrike" kern="1200" cap="none" spc="0" normalizeH="0" baseline="0" noProof="0">
                <a:ln>
                  <a:noFill/>
                </a:ln>
                <a:solidFill>
                  <a:srgbClr val="323E48"/>
                </a:solidFill>
                <a:effectLst/>
                <a:uLnTx/>
                <a:uFillTx/>
                <a:latin typeface="Times New Roman" panose="02020603050405020304"/>
                <a:ea typeface="+mn-ea"/>
                <a:cs typeface="+mn-cs"/>
              </a:endParaRPr>
            </a:p>
          </p:txBody>
        </p:sp>
        <p:sp>
          <p:nvSpPr>
            <p:cNvPr id="9" name="Text Placeholder">
              <a:extLst>
                <a:ext uri="{FF2B5EF4-FFF2-40B4-BE49-F238E27FC236}">
                  <a16:creationId xmlns:a16="http://schemas.microsoft.com/office/drawing/2014/main" id="{C68915CC-C601-48E5-B80D-63510376302E}"/>
                </a:ext>
              </a:extLst>
            </p:cNvPr>
            <p:cNvSpPr txBox="1">
              <a:spLocks/>
            </p:cNvSpPr>
            <p:nvPr/>
          </p:nvSpPr>
          <p:spPr bwMode="gray">
            <a:xfrm>
              <a:off x="1571714" y="4020340"/>
              <a:ext cx="2983325" cy="692497"/>
            </a:xfrm>
            <a:prstGeom prst="rect">
              <a:avLst/>
            </a:prstGeom>
          </p:spPr>
          <p:txBody>
            <a:bodyPr vert="horz" wrap="square" lIns="0" tIns="0" rIns="0" bIns="0" rtlCol="0">
              <a:spAutoFit/>
            </a:bodyPr>
            <a:lstStyle>
              <a:lvl1pPr marL="171450"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1pPr>
              <a:lvl2pPr marL="3444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2pPr>
              <a:lvl3pPr marL="515938"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3pPr>
              <a:lvl4pPr marL="687388" indent="-168275"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4pPr>
              <a:lvl5pPr marL="860425"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baseline="0">
                  <a:solidFill>
                    <a:schemeClr val="tx1"/>
                  </a:solidFill>
                  <a:latin typeface="+mn-lt"/>
                  <a:ea typeface="+mn-ea"/>
                  <a:cs typeface="+mn-cs"/>
                </a:defRPr>
              </a:lvl5pPr>
              <a:lvl6pPr marL="103187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6pPr>
              <a:lvl7pPr marL="1203325" indent="-171450"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7pPr>
              <a:lvl8pPr marL="1376363" indent="-173038"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8pPr>
              <a:lvl9pPr marL="1539875" indent="-163513" algn="l" defTabSz="914400" rtl="0" eaLnBrk="1" fontAlgn="ctr" latinLnBrk="0" hangingPunct="1">
                <a:lnSpc>
                  <a:spcPct val="100000"/>
                </a:lnSpc>
                <a:spcBef>
                  <a:spcPts val="600"/>
                </a:spcBef>
                <a:buClr>
                  <a:schemeClr val="accent6"/>
                </a:buClr>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571"/>
                </a:spcBef>
                <a:spcAft>
                  <a:spcPts val="0"/>
                </a:spcAft>
                <a:buClr>
                  <a:srgbClr val="CE0E2D"/>
                </a:buClr>
                <a:buSzTx/>
                <a:buFont typeface="Arial" panose="020B0604020202020204" pitchFamily="34" charset="0"/>
                <a:buNone/>
                <a:tabLst/>
                <a:defRPr/>
              </a:pP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Of strategic planners expect to increase capital expenditure in IT and digital health technologies</a:t>
              </a:r>
              <a:endParaRPr kumimoji="0" lang="en-US" sz="1500" b="0" i="0" u="none" strike="noStrike" kern="1200" cap="none" spc="0" normalizeH="0" baseline="0" noProof="0">
                <a:ln>
                  <a:noFill/>
                </a:ln>
                <a:solidFill>
                  <a:srgbClr val="CE0E2D"/>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5BF3F963-AC90-4FBE-8A59-7C20ECEEBF56}"/>
                </a:ext>
              </a:extLst>
            </p:cNvPr>
            <p:cNvSpPr txBox="1"/>
            <p:nvPr/>
          </p:nvSpPr>
          <p:spPr bwMode="gray">
            <a:xfrm>
              <a:off x="187715" y="1691731"/>
              <a:ext cx="178471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Providers</a:t>
              </a:r>
            </a:p>
          </p:txBody>
        </p:sp>
        <p:sp>
          <p:nvSpPr>
            <p:cNvPr id="24" name="Freeform 6">
              <a:extLst>
                <a:ext uri="{FF2B5EF4-FFF2-40B4-BE49-F238E27FC236}">
                  <a16:creationId xmlns:a16="http://schemas.microsoft.com/office/drawing/2014/main" id="{AEC18D4E-E684-431E-B1C0-0EFB14E965D8}"/>
                </a:ext>
              </a:extLst>
            </p:cNvPr>
            <p:cNvSpPr/>
            <p:nvPr/>
          </p:nvSpPr>
          <p:spPr bwMode="gray">
            <a:xfrm>
              <a:off x="436390" y="1566042"/>
              <a:ext cx="4983480" cy="3725915"/>
            </a:xfrm>
            <a:custGeom>
              <a:avLst/>
              <a:gdLst>
                <a:gd name="connsiteX0" fmla="*/ 0 w 755703"/>
                <a:gd name="connsiteY0" fmla="*/ 0 h 755703"/>
                <a:gd name="connsiteX1" fmla="*/ 755703 w 755703"/>
                <a:gd name="connsiteY1" fmla="*/ 0 h 755703"/>
                <a:gd name="connsiteX2" fmla="*/ 755703 w 755703"/>
                <a:gd name="connsiteY2" fmla="*/ 755703 h 755703"/>
                <a:gd name="connsiteX3" fmla="*/ 0 w 755703"/>
                <a:gd name="connsiteY3" fmla="*/ 755703 h 755703"/>
                <a:gd name="connsiteX4" fmla="*/ 0 w 755703"/>
                <a:gd name="connsiteY4" fmla="*/ 0 h 755703"/>
                <a:gd name="connsiteX0" fmla="*/ 755703 w 847143"/>
                <a:gd name="connsiteY0" fmla="*/ 755703 h 847143"/>
                <a:gd name="connsiteX1" fmla="*/ 0 w 847143"/>
                <a:gd name="connsiteY1" fmla="*/ 755703 h 847143"/>
                <a:gd name="connsiteX2" fmla="*/ 0 w 847143"/>
                <a:gd name="connsiteY2" fmla="*/ 0 h 847143"/>
                <a:gd name="connsiteX3" fmla="*/ 755703 w 847143"/>
                <a:gd name="connsiteY3" fmla="*/ 0 h 847143"/>
                <a:gd name="connsiteX4" fmla="*/ 847143 w 847143"/>
                <a:gd name="connsiteY4" fmla="*/ 847143 h 847143"/>
                <a:gd name="connsiteX0" fmla="*/ 755703 w 755703"/>
                <a:gd name="connsiteY0" fmla="*/ 755703 h 755703"/>
                <a:gd name="connsiteX1" fmla="*/ 0 w 755703"/>
                <a:gd name="connsiteY1" fmla="*/ 755703 h 755703"/>
                <a:gd name="connsiteX2" fmla="*/ 0 w 755703"/>
                <a:gd name="connsiteY2" fmla="*/ 0 h 755703"/>
                <a:gd name="connsiteX3" fmla="*/ 755703 w 755703"/>
                <a:gd name="connsiteY3" fmla="*/ 0 h 755703"/>
                <a:gd name="connsiteX0" fmla="*/ 0 w 755703"/>
                <a:gd name="connsiteY0" fmla="*/ 755703 h 755703"/>
                <a:gd name="connsiteX1" fmla="*/ 0 w 755703"/>
                <a:gd name="connsiteY1" fmla="*/ 0 h 755703"/>
                <a:gd name="connsiteX2" fmla="*/ 755703 w 755703"/>
                <a:gd name="connsiteY2" fmla="*/ 0 h 755703"/>
              </a:gdLst>
              <a:ahLst/>
              <a:cxnLst>
                <a:cxn ang="0">
                  <a:pos x="connsiteX0" y="connsiteY0"/>
                </a:cxn>
                <a:cxn ang="0">
                  <a:pos x="connsiteX1" y="connsiteY1"/>
                </a:cxn>
                <a:cxn ang="0">
                  <a:pos x="connsiteX2" y="connsiteY2"/>
                </a:cxn>
              </a:cxnLst>
              <a:rect l="l" t="t" r="r" b="b"/>
              <a:pathLst>
                <a:path w="755703" h="755703">
                  <a:moveTo>
                    <a:pt x="0" y="755703"/>
                  </a:moveTo>
                  <a:lnTo>
                    <a:pt x="0" y="0"/>
                  </a:lnTo>
                  <a:lnTo>
                    <a:pt x="755703" y="0"/>
                  </a:lnTo>
                </a:path>
              </a:pathLst>
            </a:custGeom>
            <a:noFill/>
            <a:ln w="19050" cap="flat" cmpd="sng" algn="ctr">
              <a:solidFill>
                <a:schemeClr val="bg1">
                  <a:lumMod val="75000"/>
                </a:schemeClr>
              </a:solidFill>
              <a:prstDash val="solid"/>
              <a:miter lim="800000"/>
              <a:headEnd type="none" w="med" len="med"/>
              <a:tailEnd type="none" w="med" len="med"/>
            </a:ln>
            <a:effectLst/>
          </p:spPr>
          <p:txBody>
            <a:bodyPr vert="horz" wrap="square" lIns="130629" tIns="65315" rIns="130629" bIns="65315" numCol="1" rtlCol="0" anchor="t" anchorCtr="0" compatLnSpc="1">
              <a:prstTxWarp prst="textNoShape">
                <a:avLst/>
              </a:prstTxWarp>
            </a:bodyPr>
            <a:lstStyle>
              <a:defPPr>
                <a:defRPr lang="en-US"/>
              </a:defPPr>
              <a:lvl1pPr algn="ctr" rtl="0" fontAlgn="base">
                <a:spcBef>
                  <a:spcPct val="0"/>
                </a:spcBef>
                <a:spcAft>
                  <a:spcPct val="0"/>
                </a:spcAft>
                <a:defRPr sz="1300" kern="1200">
                  <a:solidFill>
                    <a:schemeClr val="tx1"/>
                  </a:solidFill>
                  <a:latin typeface="Arial" charset="0"/>
                  <a:ea typeface="+mn-ea"/>
                  <a:cs typeface="+mn-cs"/>
                </a:defRPr>
              </a:lvl1pPr>
              <a:lvl2pPr marL="204083" algn="ctr" rtl="0" fontAlgn="base">
                <a:spcBef>
                  <a:spcPct val="0"/>
                </a:spcBef>
                <a:spcAft>
                  <a:spcPct val="0"/>
                </a:spcAft>
                <a:defRPr sz="1300" kern="1200">
                  <a:solidFill>
                    <a:schemeClr val="tx1"/>
                  </a:solidFill>
                  <a:latin typeface="Arial" charset="0"/>
                  <a:ea typeface="+mn-ea"/>
                  <a:cs typeface="+mn-cs"/>
                </a:defRPr>
              </a:lvl2pPr>
              <a:lvl3pPr marL="408165" algn="ctr" rtl="0" fontAlgn="base">
                <a:spcBef>
                  <a:spcPct val="0"/>
                </a:spcBef>
                <a:spcAft>
                  <a:spcPct val="0"/>
                </a:spcAft>
                <a:defRPr sz="1300" kern="1200">
                  <a:solidFill>
                    <a:schemeClr val="tx1"/>
                  </a:solidFill>
                  <a:latin typeface="Arial" charset="0"/>
                  <a:ea typeface="+mn-ea"/>
                  <a:cs typeface="+mn-cs"/>
                </a:defRPr>
              </a:lvl3pPr>
              <a:lvl4pPr marL="612248" algn="ctr" rtl="0" fontAlgn="base">
                <a:spcBef>
                  <a:spcPct val="0"/>
                </a:spcBef>
                <a:spcAft>
                  <a:spcPct val="0"/>
                </a:spcAft>
                <a:defRPr sz="1300" kern="1200">
                  <a:solidFill>
                    <a:schemeClr val="tx1"/>
                  </a:solidFill>
                  <a:latin typeface="Arial" charset="0"/>
                  <a:ea typeface="+mn-ea"/>
                  <a:cs typeface="+mn-cs"/>
                </a:defRPr>
              </a:lvl4pPr>
              <a:lvl5pPr marL="816331" algn="ctr" rtl="0" fontAlgn="base">
                <a:spcBef>
                  <a:spcPct val="0"/>
                </a:spcBef>
                <a:spcAft>
                  <a:spcPct val="0"/>
                </a:spcAft>
                <a:defRPr sz="1300" kern="1200">
                  <a:solidFill>
                    <a:schemeClr val="tx1"/>
                  </a:solidFill>
                  <a:latin typeface="Arial" charset="0"/>
                  <a:ea typeface="+mn-ea"/>
                  <a:cs typeface="+mn-cs"/>
                </a:defRPr>
              </a:lvl5pPr>
              <a:lvl6pPr marL="1020413" algn="l" defTabSz="408165" rtl="0" eaLnBrk="1" latinLnBrk="0" hangingPunct="1">
                <a:defRPr sz="1300" kern="1200">
                  <a:solidFill>
                    <a:schemeClr val="tx1"/>
                  </a:solidFill>
                  <a:latin typeface="Arial" charset="0"/>
                  <a:ea typeface="+mn-ea"/>
                  <a:cs typeface="+mn-cs"/>
                </a:defRPr>
              </a:lvl6pPr>
              <a:lvl7pPr marL="1224496" algn="l" defTabSz="408165" rtl="0" eaLnBrk="1" latinLnBrk="0" hangingPunct="1">
                <a:defRPr sz="1300" kern="1200">
                  <a:solidFill>
                    <a:schemeClr val="tx1"/>
                  </a:solidFill>
                  <a:latin typeface="Arial" charset="0"/>
                  <a:ea typeface="+mn-ea"/>
                  <a:cs typeface="+mn-cs"/>
                </a:defRPr>
              </a:lvl7pPr>
              <a:lvl8pPr marL="1428579" algn="l" defTabSz="408165" rtl="0" eaLnBrk="1" latinLnBrk="0" hangingPunct="1">
                <a:defRPr sz="1300" kern="1200">
                  <a:solidFill>
                    <a:schemeClr val="tx1"/>
                  </a:solidFill>
                  <a:latin typeface="Arial" charset="0"/>
                  <a:ea typeface="+mn-ea"/>
                  <a:cs typeface="+mn-cs"/>
                </a:defRPr>
              </a:lvl8pPr>
              <a:lvl9pPr marL="1632661" algn="l" defTabSz="408165" rtl="0" eaLnBrk="1" latinLnBrk="0" hangingPunct="1">
                <a:defRPr sz="1300" kern="1200">
                  <a:solidFill>
                    <a:schemeClr val="tx1"/>
                  </a:solidFill>
                  <a:latin typeface="Arial" charset="0"/>
                  <a:ea typeface="+mn-ea"/>
                  <a:cs typeface="+mn-cs"/>
                </a:defRPr>
              </a:lvl9pPr>
            </a:lstStyle>
            <a:p>
              <a:pPr marL="0" marR="0" lvl="0" indent="0" algn="l" defTabSz="2090954" rtl="0" eaLnBrk="1" fontAlgn="base" latinLnBrk="0" hangingPunct="1">
                <a:lnSpc>
                  <a:spcPct val="100000"/>
                </a:lnSpc>
                <a:spcBef>
                  <a:spcPct val="0"/>
                </a:spcBef>
                <a:spcAft>
                  <a:spcPct val="0"/>
                </a:spcAft>
                <a:buClrTx/>
                <a:buSzTx/>
                <a:buFontTx/>
                <a:buNone/>
                <a:tabLst/>
                <a:defRPr/>
              </a:pPr>
              <a:endParaRPr kumimoji="0" lang="en-US" sz="1143" b="1" i="0" u="none" strike="noStrike" kern="1200" cap="none" spc="0" normalizeH="0" baseline="0" noProof="0">
                <a:ln>
                  <a:noFill/>
                </a:ln>
                <a:solidFill>
                  <a:srgbClr val="E5E5E5"/>
                </a:solidFill>
                <a:effectLst/>
                <a:uLnTx/>
                <a:uFillTx/>
                <a:latin typeface="Arial" panose="020B0604020202020204"/>
                <a:ea typeface="+mn-ea"/>
                <a:cs typeface="+mn-cs"/>
              </a:endParaRPr>
            </a:p>
          </p:txBody>
        </p:sp>
        <p:cxnSp>
          <p:nvCxnSpPr>
            <p:cNvPr id="25" name="Straight Connector 24">
              <a:extLst>
                <a:ext uri="{FF2B5EF4-FFF2-40B4-BE49-F238E27FC236}">
                  <a16:creationId xmlns:a16="http://schemas.microsoft.com/office/drawing/2014/main" id="{A1540212-1F6D-4D93-980B-382B8D1D7D3D}"/>
                </a:ext>
              </a:extLst>
            </p:cNvPr>
            <p:cNvCxnSpPr/>
            <p:nvPr/>
          </p:nvCxnSpPr>
          <p:spPr bwMode="gray">
            <a:xfrm flipH="1">
              <a:off x="676062" y="2235663"/>
              <a:ext cx="4743808" cy="0"/>
            </a:xfrm>
            <a:prstGeom prst="line">
              <a:avLst/>
            </a:prstGeom>
            <a:ln w="254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 name="Freeform 25">
              <a:extLst>
                <a:ext uri="{FF2B5EF4-FFF2-40B4-BE49-F238E27FC236}">
                  <a16:creationId xmlns:a16="http://schemas.microsoft.com/office/drawing/2014/main" id="{562FB814-9742-4075-970D-63492E4BCFBB}"/>
                </a:ext>
              </a:extLst>
            </p:cNvPr>
            <p:cNvSpPr/>
            <p:nvPr/>
          </p:nvSpPr>
          <p:spPr bwMode="gray">
            <a:xfrm>
              <a:off x="436389" y="1566042"/>
              <a:ext cx="130629" cy="130629"/>
            </a:xfrm>
            <a:custGeom>
              <a:avLst/>
              <a:gdLst>
                <a:gd name="connsiteX0" fmla="*/ 0 w 755703"/>
                <a:gd name="connsiteY0" fmla="*/ 0 h 755703"/>
                <a:gd name="connsiteX1" fmla="*/ 755703 w 755703"/>
                <a:gd name="connsiteY1" fmla="*/ 0 h 755703"/>
                <a:gd name="connsiteX2" fmla="*/ 755703 w 755703"/>
                <a:gd name="connsiteY2" fmla="*/ 755703 h 755703"/>
                <a:gd name="connsiteX3" fmla="*/ 0 w 755703"/>
                <a:gd name="connsiteY3" fmla="*/ 755703 h 755703"/>
                <a:gd name="connsiteX4" fmla="*/ 0 w 755703"/>
                <a:gd name="connsiteY4" fmla="*/ 0 h 755703"/>
                <a:gd name="connsiteX0" fmla="*/ 755703 w 847143"/>
                <a:gd name="connsiteY0" fmla="*/ 755703 h 847143"/>
                <a:gd name="connsiteX1" fmla="*/ 0 w 847143"/>
                <a:gd name="connsiteY1" fmla="*/ 755703 h 847143"/>
                <a:gd name="connsiteX2" fmla="*/ 0 w 847143"/>
                <a:gd name="connsiteY2" fmla="*/ 0 h 847143"/>
                <a:gd name="connsiteX3" fmla="*/ 755703 w 847143"/>
                <a:gd name="connsiteY3" fmla="*/ 0 h 847143"/>
                <a:gd name="connsiteX4" fmla="*/ 847143 w 847143"/>
                <a:gd name="connsiteY4" fmla="*/ 847143 h 847143"/>
                <a:gd name="connsiteX0" fmla="*/ 755703 w 755703"/>
                <a:gd name="connsiteY0" fmla="*/ 755703 h 755703"/>
                <a:gd name="connsiteX1" fmla="*/ 0 w 755703"/>
                <a:gd name="connsiteY1" fmla="*/ 755703 h 755703"/>
                <a:gd name="connsiteX2" fmla="*/ 0 w 755703"/>
                <a:gd name="connsiteY2" fmla="*/ 0 h 755703"/>
                <a:gd name="connsiteX3" fmla="*/ 755703 w 755703"/>
                <a:gd name="connsiteY3" fmla="*/ 0 h 755703"/>
                <a:gd name="connsiteX0" fmla="*/ 0 w 755703"/>
                <a:gd name="connsiteY0" fmla="*/ 755703 h 755703"/>
                <a:gd name="connsiteX1" fmla="*/ 0 w 755703"/>
                <a:gd name="connsiteY1" fmla="*/ 0 h 755703"/>
                <a:gd name="connsiteX2" fmla="*/ 755703 w 755703"/>
                <a:gd name="connsiteY2" fmla="*/ 0 h 755703"/>
              </a:gdLst>
              <a:ahLst/>
              <a:cxnLst>
                <a:cxn ang="0">
                  <a:pos x="connsiteX0" y="connsiteY0"/>
                </a:cxn>
                <a:cxn ang="0">
                  <a:pos x="connsiteX1" y="connsiteY1"/>
                </a:cxn>
                <a:cxn ang="0">
                  <a:pos x="connsiteX2" y="connsiteY2"/>
                </a:cxn>
              </a:cxnLst>
              <a:rect l="l" t="t" r="r" b="b"/>
              <a:pathLst>
                <a:path w="755703" h="755703">
                  <a:moveTo>
                    <a:pt x="0" y="755703"/>
                  </a:moveTo>
                  <a:lnTo>
                    <a:pt x="0" y="0"/>
                  </a:lnTo>
                  <a:lnTo>
                    <a:pt x="755703" y="0"/>
                  </a:lnTo>
                </a:path>
              </a:pathLst>
            </a:custGeom>
            <a:noFill/>
            <a:ln w="38100" cap="flat" cmpd="sng" algn="ctr">
              <a:solidFill>
                <a:schemeClr val="accent6"/>
              </a:solidFill>
              <a:prstDash val="solid"/>
              <a:miter lim="800000"/>
              <a:headEnd type="none" w="med" len="med"/>
              <a:tailEnd type="none" w="med" len="med"/>
            </a:ln>
            <a:effectLst/>
          </p:spPr>
          <p:txBody>
            <a:bodyPr vert="horz" wrap="square" lIns="130629" tIns="65315" rIns="130629" bIns="65315" numCol="1" rtlCol="0" anchor="t" anchorCtr="0" compatLnSpc="1">
              <a:prstTxWarp prst="textNoShape">
                <a:avLst/>
              </a:prstTxWarp>
            </a:bodyPr>
            <a:lstStyle>
              <a:defPPr>
                <a:defRPr lang="en-US"/>
              </a:defPPr>
              <a:lvl1pPr algn="ctr" rtl="0" fontAlgn="base">
                <a:spcBef>
                  <a:spcPct val="0"/>
                </a:spcBef>
                <a:spcAft>
                  <a:spcPct val="0"/>
                </a:spcAft>
                <a:defRPr sz="1300" kern="1200">
                  <a:solidFill>
                    <a:schemeClr val="tx1"/>
                  </a:solidFill>
                  <a:latin typeface="Arial" charset="0"/>
                  <a:ea typeface="+mn-ea"/>
                  <a:cs typeface="+mn-cs"/>
                </a:defRPr>
              </a:lvl1pPr>
              <a:lvl2pPr marL="204083" algn="ctr" rtl="0" fontAlgn="base">
                <a:spcBef>
                  <a:spcPct val="0"/>
                </a:spcBef>
                <a:spcAft>
                  <a:spcPct val="0"/>
                </a:spcAft>
                <a:defRPr sz="1300" kern="1200">
                  <a:solidFill>
                    <a:schemeClr val="tx1"/>
                  </a:solidFill>
                  <a:latin typeface="Arial" charset="0"/>
                  <a:ea typeface="+mn-ea"/>
                  <a:cs typeface="+mn-cs"/>
                </a:defRPr>
              </a:lvl2pPr>
              <a:lvl3pPr marL="408165" algn="ctr" rtl="0" fontAlgn="base">
                <a:spcBef>
                  <a:spcPct val="0"/>
                </a:spcBef>
                <a:spcAft>
                  <a:spcPct val="0"/>
                </a:spcAft>
                <a:defRPr sz="1300" kern="1200">
                  <a:solidFill>
                    <a:schemeClr val="tx1"/>
                  </a:solidFill>
                  <a:latin typeface="Arial" charset="0"/>
                  <a:ea typeface="+mn-ea"/>
                  <a:cs typeface="+mn-cs"/>
                </a:defRPr>
              </a:lvl3pPr>
              <a:lvl4pPr marL="612248" algn="ctr" rtl="0" fontAlgn="base">
                <a:spcBef>
                  <a:spcPct val="0"/>
                </a:spcBef>
                <a:spcAft>
                  <a:spcPct val="0"/>
                </a:spcAft>
                <a:defRPr sz="1300" kern="1200">
                  <a:solidFill>
                    <a:schemeClr val="tx1"/>
                  </a:solidFill>
                  <a:latin typeface="Arial" charset="0"/>
                  <a:ea typeface="+mn-ea"/>
                  <a:cs typeface="+mn-cs"/>
                </a:defRPr>
              </a:lvl4pPr>
              <a:lvl5pPr marL="816331" algn="ctr" rtl="0" fontAlgn="base">
                <a:spcBef>
                  <a:spcPct val="0"/>
                </a:spcBef>
                <a:spcAft>
                  <a:spcPct val="0"/>
                </a:spcAft>
                <a:defRPr sz="1300" kern="1200">
                  <a:solidFill>
                    <a:schemeClr val="tx1"/>
                  </a:solidFill>
                  <a:latin typeface="Arial" charset="0"/>
                  <a:ea typeface="+mn-ea"/>
                  <a:cs typeface="+mn-cs"/>
                </a:defRPr>
              </a:lvl5pPr>
              <a:lvl6pPr marL="1020413" algn="l" defTabSz="408165" rtl="0" eaLnBrk="1" latinLnBrk="0" hangingPunct="1">
                <a:defRPr sz="1300" kern="1200">
                  <a:solidFill>
                    <a:schemeClr val="tx1"/>
                  </a:solidFill>
                  <a:latin typeface="Arial" charset="0"/>
                  <a:ea typeface="+mn-ea"/>
                  <a:cs typeface="+mn-cs"/>
                </a:defRPr>
              </a:lvl6pPr>
              <a:lvl7pPr marL="1224496" algn="l" defTabSz="408165" rtl="0" eaLnBrk="1" latinLnBrk="0" hangingPunct="1">
                <a:defRPr sz="1300" kern="1200">
                  <a:solidFill>
                    <a:schemeClr val="tx1"/>
                  </a:solidFill>
                  <a:latin typeface="Arial" charset="0"/>
                  <a:ea typeface="+mn-ea"/>
                  <a:cs typeface="+mn-cs"/>
                </a:defRPr>
              </a:lvl7pPr>
              <a:lvl8pPr marL="1428579" algn="l" defTabSz="408165" rtl="0" eaLnBrk="1" latinLnBrk="0" hangingPunct="1">
                <a:defRPr sz="1300" kern="1200">
                  <a:solidFill>
                    <a:schemeClr val="tx1"/>
                  </a:solidFill>
                  <a:latin typeface="Arial" charset="0"/>
                  <a:ea typeface="+mn-ea"/>
                  <a:cs typeface="+mn-cs"/>
                </a:defRPr>
              </a:lvl8pPr>
              <a:lvl9pPr marL="1632661" algn="l" defTabSz="408165" rtl="0" eaLnBrk="1" latinLnBrk="0" hangingPunct="1">
                <a:defRPr sz="1300" kern="1200">
                  <a:solidFill>
                    <a:schemeClr val="tx1"/>
                  </a:solidFill>
                  <a:latin typeface="Arial" charset="0"/>
                  <a:ea typeface="+mn-ea"/>
                  <a:cs typeface="+mn-cs"/>
                </a:defRPr>
              </a:lvl9pPr>
            </a:lstStyle>
            <a:p>
              <a:pPr marL="0" marR="0" lvl="0" indent="0" algn="l" defTabSz="2090954" rtl="0" eaLnBrk="1" fontAlgn="base" latinLnBrk="0" hangingPunct="1">
                <a:lnSpc>
                  <a:spcPct val="100000"/>
                </a:lnSpc>
                <a:spcBef>
                  <a:spcPct val="0"/>
                </a:spcBef>
                <a:spcAft>
                  <a:spcPct val="0"/>
                </a:spcAft>
                <a:buClrTx/>
                <a:buSzTx/>
                <a:buFontTx/>
                <a:buNone/>
                <a:tabLst/>
                <a:defRPr/>
              </a:pPr>
              <a:endParaRPr kumimoji="0" lang="en-US" sz="1429" b="1" i="0" u="none" strike="noStrike" kern="1200" cap="none" spc="0" normalizeH="0" baseline="0" noProof="0">
                <a:ln>
                  <a:noFill/>
                </a:ln>
                <a:solidFill>
                  <a:srgbClr val="E5E5E5"/>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593995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42A684BB-25D4-4FDB-944D-B45A0A73FFC9}"/>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547605" y="3812530"/>
            <a:ext cx="11037969" cy="2361258"/>
          </a:xfrm>
          <a:prstGeom prst="rect">
            <a:avLst/>
          </a:prstGeom>
        </p:spPr>
      </p:pic>
      <p:sp>
        <p:nvSpPr>
          <p:cNvPr id="14" name="TextBox 13">
            <a:extLst>
              <a:ext uri="{FF2B5EF4-FFF2-40B4-BE49-F238E27FC236}">
                <a16:creationId xmlns:a16="http://schemas.microsoft.com/office/drawing/2014/main" id="{649F32C7-FCA1-4049-A172-93C882E6300F}"/>
              </a:ext>
            </a:extLst>
          </p:cNvPr>
          <p:cNvSpPr txBox="1"/>
          <p:nvPr/>
        </p:nvSpPr>
        <p:spPr bwMode="gray">
          <a:xfrm>
            <a:off x="1247544" y="1713585"/>
            <a:ext cx="326148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Low-income patients  </a:t>
            </a:r>
          </a:p>
        </p:txBody>
      </p:sp>
      <p:grpSp>
        <p:nvGrpSpPr>
          <p:cNvPr id="45" name="Group 44">
            <a:extLst>
              <a:ext uri="{FF2B5EF4-FFF2-40B4-BE49-F238E27FC236}">
                <a16:creationId xmlns:a16="http://schemas.microsoft.com/office/drawing/2014/main" id="{66D10848-00D2-4850-83C0-239EE0D9079B}"/>
              </a:ext>
            </a:extLst>
          </p:cNvPr>
          <p:cNvGrpSpPr/>
          <p:nvPr/>
        </p:nvGrpSpPr>
        <p:grpSpPr>
          <a:xfrm>
            <a:off x="846690" y="2095422"/>
            <a:ext cx="4978757" cy="1908324"/>
            <a:chOff x="-226502" y="3606205"/>
            <a:chExt cx="5170318" cy="1908324"/>
          </a:xfrm>
        </p:grpSpPr>
        <p:graphicFrame>
          <p:nvGraphicFramePr>
            <p:cNvPr id="46" name="Chart 45">
              <a:extLst>
                <a:ext uri="{FF2B5EF4-FFF2-40B4-BE49-F238E27FC236}">
                  <a16:creationId xmlns:a16="http://schemas.microsoft.com/office/drawing/2014/main" id="{934E1B59-F346-431E-9BD8-CEF69A3413C8}"/>
                </a:ext>
              </a:extLst>
            </p:cNvPr>
            <p:cNvGraphicFramePr/>
            <p:nvPr>
              <p:extLst>
                <p:ext uri="{D42A27DB-BD31-4B8C-83A1-F6EECF244321}">
                  <p14:modId xmlns:p14="http://schemas.microsoft.com/office/powerpoint/2010/main" val="2984265939"/>
                </p:ext>
              </p:extLst>
            </p:nvPr>
          </p:nvGraphicFramePr>
          <p:xfrm>
            <a:off x="1285291" y="4048216"/>
            <a:ext cx="3387288" cy="1466313"/>
          </p:xfrm>
          <a:graphic>
            <a:graphicData uri="http://schemas.openxmlformats.org/drawingml/2006/chart">
              <c:chart xmlns:c="http://schemas.openxmlformats.org/drawingml/2006/chart" xmlns:r="http://schemas.openxmlformats.org/officeDocument/2006/relationships" r:id="rId4"/>
            </a:graphicData>
          </a:graphic>
        </p:graphicFrame>
        <p:sp>
          <p:nvSpPr>
            <p:cNvPr id="47" name="TextBox 46">
              <a:extLst>
                <a:ext uri="{FF2B5EF4-FFF2-40B4-BE49-F238E27FC236}">
                  <a16:creationId xmlns:a16="http://schemas.microsoft.com/office/drawing/2014/main" id="{BEE69751-0FF2-4832-8D29-ECD62B65B99F}"/>
                </a:ext>
              </a:extLst>
            </p:cNvPr>
            <p:cNvSpPr txBox="1"/>
            <p:nvPr/>
          </p:nvSpPr>
          <p:spPr bwMode="gray">
            <a:xfrm>
              <a:off x="-118520" y="4113189"/>
              <a:ext cx="1670558"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23E48"/>
                  </a:solidFill>
                  <a:effectLst/>
                  <a:uLnTx/>
                  <a:uFillTx/>
                  <a:latin typeface="Arial" panose="020B0604020202020204"/>
                  <a:ea typeface="+mn-ea"/>
                  <a:cs typeface="+mn-cs"/>
                </a:rPr>
                <a:t>Less than 100% of FPL</a:t>
              </a:r>
            </a:p>
          </p:txBody>
        </p:sp>
        <p:sp>
          <p:nvSpPr>
            <p:cNvPr id="48" name="TextBox 47">
              <a:extLst>
                <a:ext uri="{FF2B5EF4-FFF2-40B4-BE49-F238E27FC236}">
                  <a16:creationId xmlns:a16="http://schemas.microsoft.com/office/drawing/2014/main" id="{10155CF3-EC92-4A5E-82E4-D5EAC79F8368}"/>
                </a:ext>
              </a:extLst>
            </p:cNvPr>
            <p:cNvSpPr txBox="1"/>
            <p:nvPr/>
          </p:nvSpPr>
          <p:spPr bwMode="gray">
            <a:xfrm>
              <a:off x="-118520" y="4406223"/>
              <a:ext cx="1670558"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23E48"/>
                  </a:solidFill>
                  <a:effectLst/>
                  <a:uLnTx/>
                  <a:uFillTx/>
                  <a:latin typeface="Arial" panose="020B0604020202020204"/>
                  <a:ea typeface="+mn-ea"/>
                  <a:cs typeface="+mn-cs"/>
                </a:rPr>
                <a:t>100% - 200% of FPL</a:t>
              </a:r>
            </a:p>
          </p:txBody>
        </p:sp>
        <p:sp>
          <p:nvSpPr>
            <p:cNvPr id="49" name="TextBox 48">
              <a:extLst>
                <a:ext uri="{FF2B5EF4-FFF2-40B4-BE49-F238E27FC236}">
                  <a16:creationId xmlns:a16="http://schemas.microsoft.com/office/drawing/2014/main" id="{B20F5C2C-1298-42D9-AD9B-B2431231BF73}"/>
                </a:ext>
              </a:extLst>
            </p:cNvPr>
            <p:cNvSpPr txBox="1"/>
            <p:nvPr/>
          </p:nvSpPr>
          <p:spPr bwMode="gray">
            <a:xfrm>
              <a:off x="-118520" y="4701838"/>
              <a:ext cx="1670558"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23E48"/>
                  </a:solidFill>
                  <a:effectLst/>
                  <a:uLnTx/>
                  <a:uFillTx/>
                  <a:latin typeface="Arial" panose="020B0604020202020204"/>
                  <a:ea typeface="+mn-ea"/>
                  <a:cs typeface="+mn-cs"/>
                </a:rPr>
                <a:t>200% - 400% of FPL</a:t>
              </a:r>
            </a:p>
          </p:txBody>
        </p:sp>
        <p:sp>
          <p:nvSpPr>
            <p:cNvPr id="50" name="TextBox 49">
              <a:extLst>
                <a:ext uri="{FF2B5EF4-FFF2-40B4-BE49-F238E27FC236}">
                  <a16:creationId xmlns:a16="http://schemas.microsoft.com/office/drawing/2014/main" id="{9B2034E4-4738-4F52-8A7F-6AA5EDBE2245}"/>
                </a:ext>
              </a:extLst>
            </p:cNvPr>
            <p:cNvSpPr txBox="1"/>
            <p:nvPr/>
          </p:nvSpPr>
          <p:spPr bwMode="gray">
            <a:xfrm>
              <a:off x="-226502" y="4992291"/>
              <a:ext cx="1778540"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23E48"/>
                  </a:solidFill>
                  <a:effectLst/>
                  <a:uLnTx/>
                  <a:uFillTx/>
                  <a:latin typeface="Arial" panose="020B0604020202020204"/>
                  <a:ea typeface="+mn-ea"/>
                  <a:cs typeface="+mn-cs"/>
                </a:rPr>
                <a:t>400% or more of FPL</a:t>
              </a:r>
            </a:p>
          </p:txBody>
        </p:sp>
        <p:sp>
          <p:nvSpPr>
            <p:cNvPr id="52" name="TextBox 51">
              <a:extLst>
                <a:ext uri="{FF2B5EF4-FFF2-40B4-BE49-F238E27FC236}">
                  <a16:creationId xmlns:a16="http://schemas.microsoft.com/office/drawing/2014/main" id="{8D2F4407-56C2-443F-86F0-10C7CBBFECCC}"/>
                </a:ext>
              </a:extLst>
            </p:cNvPr>
            <p:cNvSpPr txBox="1"/>
            <p:nvPr/>
          </p:nvSpPr>
          <p:spPr bwMode="gray">
            <a:xfrm>
              <a:off x="174352" y="3606205"/>
              <a:ext cx="476946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t>Telehealth use by income level</a:t>
              </a:r>
            </a:p>
          </p:txBody>
        </p:sp>
      </p:grpSp>
      <p:pic>
        <p:nvPicPr>
          <p:cNvPr id="54" name="Picture 53">
            <a:extLst>
              <a:ext uri="{FF2B5EF4-FFF2-40B4-BE49-F238E27FC236}">
                <a16:creationId xmlns:a16="http://schemas.microsoft.com/office/drawing/2014/main" id="{37FB3AAF-34EF-4B7B-AE1A-EE14F4DA1C4B}"/>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bwMode="gray">
          <a:xfrm rot="16200000">
            <a:off x="6292290" y="868560"/>
            <a:ext cx="4746770" cy="5851645"/>
          </a:xfrm>
          <a:prstGeom prst="rect">
            <a:avLst/>
          </a:prstGeom>
        </p:spPr>
      </p:pic>
      <p:sp>
        <p:nvSpPr>
          <p:cNvPr id="2" name="Text Placeholder 1">
            <a:extLst>
              <a:ext uri="{FF2B5EF4-FFF2-40B4-BE49-F238E27FC236}">
                <a16:creationId xmlns:a16="http://schemas.microsoft.com/office/drawing/2014/main" id="{DAACE49D-45A1-4288-9272-505D66532F39}"/>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83096CA0-8347-453C-BE0D-4C7E026D4FDF}"/>
              </a:ext>
            </a:extLst>
          </p:cNvPr>
          <p:cNvSpPr>
            <a:spLocks noGrp="1"/>
          </p:cNvSpPr>
          <p:nvPr>
            <p:ph type="body" sz="quarter" idx="27"/>
          </p:nvPr>
        </p:nvSpPr>
        <p:spPr>
          <a:xfrm>
            <a:off x="6735233" y="5742901"/>
            <a:ext cx="4856265" cy="430887"/>
          </a:xfrm>
        </p:spPr>
        <p:txBody>
          <a:bodyPr/>
          <a:lstStyle/>
          <a:p>
            <a:r>
              <a:rPr lang="en-US" dirty="0"/>
              <a:t>Source: </a:t>
            </a:r>
            <a:r>
              <a:rPr lang="en-US" dirty="0" err="1"/>
              <a:t>Thronson</a:t>
            </a:r>
            <a:r>
              <a:rPr lang="en-US" dirty="0"/>
              <a:t>, L. et al., </a:t>
            </a:r>
            <a:r>
              <a:rPr lang="en-US" dirty="0">
                <a:hlinkClick r:id="rId5"/>
              </a:rPr>
              <a:t>“The pandemic of health care inequity,” </a:t>
            </a:r>
            <a:r>
              <a:rPr lang="en-US" dirty="0"/>
              <a:t>JAMA Network Open, October 2020; Tyrrell R. </a:t>
            </a:r>
            <a:r>
              <a:rPr lang="en-US" dirty="0">
                <a:hlinkClick r:id="rId6"/>
              </a:rPr>
              <a:t>“How Covid-19 has changed consumer behavior and preferences,”</a:t>
            </a:r>
            <a:r>
              <a:rPr lang="en-US" dirty="0"/>
              <a:t> Advisory Board, June 29, 2020; Jacqueline W. Lucas et al., ‘Telemedicine Use Among Adults: United States, 2021,’’ Centers for Disease Control and Prevention, October 2022</a:t>
            </a:r>
          </a:p>
        </p:txBody>
      </p:sp>
      <p:sp>
        <p:nvSpPr>
          <p:cNvPr id="4" name="Title 3">
            <a:extLst>
              <a:ext uri="{FF2B5EF4-FFF2-40B4-BE49-F238E27FC236}">
                <a16:creationId xmlns:a16="http://schemas.microsoft.com/office/drawing/2014/main" id="{F8B83129-6C2A-4EB4-A7B3-B83903153337}"/>
              </a:ext>
            </a:extLst>
          </p:cNvPr>
          <p:cNvSpPr>
            <a:spLocks noGrp="1"/>
          </p:cNvSpPr>
          <p:nvPr>
            <p:ph type="title"/>
          </p:nvPr>
        </p:nvSpPr>
        <p:spPr>
          <a:xfrm>
            <a:off x="612774" y="588771"/>
            <a:ext cx="10972801" cy="540917"/>
          </a:xfrm>
        </p:spPr>
        <p:txBody>
          <a:bodyPr/>
          <a:lstStyle/>
          <a:p>
            <a:r>
              <a:rPr lang="en-US"/>
              <a:t>…but digital inequities mean patients are left behind  </a:t>
            </a:r>
          </a:p>
        </p:txBody>
      </p:sp>
      <p:sp>
        <p:nvSpPr>
          <p:cNvPr id="22" name="TextBox 21">
            <a:extLst>
              <a:ext uri="{FF2B5EF4-FFF2-40B4-BE49-F238E27FC236}">
                <a16:creationId xmlns:a16="http://schemas.microsoft.com/office/drawing/2014/main" id="{AD7C24EE-2F00-4111-B3E9-1645F84CA6A0}"/>
              </a:ext>
            </a:extLst>
          </p:cNvPr>
          <p:cNvSpPr txBox="1"/>
          <p:nvPr/>
        </p:nvSpPr>
        <p:spPr bwMode="gray">
          <a:xfrm>
            <a:off x="7089085" y="1717393"/>
            <a:ext cx="296807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Rural patients</a:t>
            </a:r>
          </a:p>
        </p:txBody>
      </p:sp>
      <p:sp>
        <p:nvSpPr>
          <p:cNvPr id="18" name="TextBox 17">
            <a:extLst>
              <a:ext uri="{FF2B5EF4-FFF2-40B4-BE49-F238E27FC236}">
                <a16:creationId xmlns:a16="http://schemas.microsoft.com/office/drawing/2014/main" id="{009AD95C-1314-47D2-B1E0-00FFE2A046F9}"/>
              </a:ext>
            </a:extLst>
          </p:cNvPr>
          <p:cNvSpPr txBox="1"/>
          <p:nvPr/>
        </p:nvSpPr>
        <p:spPr bwMode="gray">
          <a:xfrm>
            <a:off x="1245209" y="4104418"/>
            <a:ext cx="379703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Non-white patients </a:t>
            </a:r>
          </a:p>
        </p:txBody>
      </p:sp>
      <p:sp>
        <p:nvSpPr>
          <p:cNvPr id="10" name="TextBox 9">
            <a:extLst>
              <a:ext uri="{FF2B5EF4-FFF2-40B4-BE49-F238E27FC236}">
                <a16:creationId xmlns:a16="http://schemas.microsoft.com/office/drawing/2014/main" id="{73B75C02-D5DC-4909-8E83-3A3E5D2A8CDC}"/>
              </a:ext>
            </a:extLst>
          </p:cNvPr>
          <p:cNvSpPr txBox="1"/>
          <p:nvPr/>
        </p:nvSpPr>
        <p:spPr bwMode="gray">
          <a:xfrm>
            <a:off x="7080420" y="3974637"/>
            <a:ext cx="390517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Patients with limited internet skills</a:t>
            </a:r>
          </a:p>
        </p:txBody>
      </p:sp>
      <p:sp>
        <p:nvSpPr>
          <p:cNvPr id="26" name="TextBox 25">
            <a:extLst>
              <a:ext uri="{FF2B5EF4-FFF2-40B4-BE49-F238E27FC236}">
                <a16:creationId xmlns:a16="http://schemas.microsoft.com/office/drawing/2014/main" id="{B8AA4E97-B0B3-40AA-9F9B-D310352F44E3}"/>
              </a:ext>
            </a:extLst>
          </p:cNvPr>
          <p:cNvSpPr txBox="1"/>
          <p:nvPr/>
        </p:nvSpPr>
        <p:spPr bwMode="gray">
          <a:xfrm>
            <a:off x="1245209" y="4487500"/>
            <a:ext cx="1417004" cy="55399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7% </a:t>
            </a:r>
          </a:p>
        </p:txBody>
      </p:sp>
      <p:sp>
        <p:nvSpPr>
          <p:cNvPr id="27" name="Rectangle 26">
            <a:extLst>
              <a:ext uri="{FF2B5EF4-FFF2-40B4-BE49-F238E27FC236}">
                <a16:creationId xmlns:a16="http://schemas.microsoft.com/office/drawing/2014/main" id="{8D62CF8A-0352-4EC4-A2B0-88E084180427}"/>
              </a:ext>
            </a:extLst>
          </p:cNvPr>
          <p:cNvSpPr/>
          <p:nvPr/>
        </p:nvSpPr>
        <p:spPr bwMode="gray">
          <a:xfrm>
            <a:off x="1242688" y="5083718"/>
            <a:ext cx="3108960" cy="646331"/>
          </a:xfrm>
          <a:prstGeom prst="rect">
            <a:avLst/>
          </a:prstGeom>
        </p:spPr>
        <p:txBody>
          <a:bodyPr wrap="square" lIns="0" tIns="0" rIns="0" bIns="0" anchor="t" anchorCtr="0">
            <a:spAutoFit/>
          </a:bodyPr>
          <a:lstStyle/>
          <a:p>
            <a:pPr marL="0" marR="0" lvl="0" indent="0" algn="l" defTabSz="914400" rtl="0" eaLnBrk="1" fontAlgn="auto" latinLnBrk="0" hangingPunct="1">
              <a:lnSpc>
                <a:spcPct val="100000"/>
              </a:lnSpc>
              <a:spcBef>
                <a:spcPts val="714"/>
              </a:spcBef>
              <a:spcAft>
                <a:spcPts val="0"/>
              </a:spcAft>
              <a:buClrTx/>
              <a:buSzTx/>
              <a:buFontTx/>
              <a:buNone/>
              <a:tabLst/>
              <a:defRPr/>
            </a:pP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Rate of telemedicine adoption in clinics primarily dedicated to a racially-diverse Medicaid population in Pacific NW</a:t>
            </a:r>
          </a:p>
        </p:txBody>
      </p:sp>
      <p:sp>
        <p:nvSpPr>
          <p:cNvPr id="35" name="TextBox 34">
            <a:extLst>
              <a:ext uri="{FF2B5EF4-FFF2-40B4-BE49-F238E27FC236}">
                <a16:creationId xmlns:a16="http://schemas.microsoft.com/office/drawing/2014/main" id="{4CAD8FF8-45FA-4226-B7B2-1D84FF4BC924}"/>
              </a:ext>
            </a:extLst>
          </p:cNvPr>
          <p:cNvSpPr txBox="1"/>
          <p:nvPr/>
        </p:nvSpPr>
        <p:spPr bwMode="gray">
          <a:xfrm>
            <a:off x="7089778" y="4359758"/>
            <a:ext cx="1259810"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48%</a:t>
            </a:r>
          </a:p>
        </p:txBody>
      </p:sp>
      <p:sp>
        <p:nvSpPr>
          <p:cNvPr id="36" name="Text Placeholder 9">
            <a:extLst>
              <a:ext uri="{FF2B5EF4-FFF2-40B4-BE49-F238E27FC236}">
                <a16:creationId xmlns:a16="http://schemas.microsoft.com/office/drawing/2014/main" id="{354BD9F0-E81E-4EB2-94C1-3E4A52190909}"/>
              </a:ext>
            </a:extLst>
          </p:cNvPr>
          <p:cNvSpPr>
            <a:spLocks noGrp="1"/>
          </p:cNvSpPr>
          <p:nvPr/>
        </p:nvSpPr>
        <p:spPr bwMode="gray">
          <a:xfrm>
            <a:off x="7080421" y="4950577"/>
            <a:ext cx="1554480" cy="861774"/>
          </a:xfrm>
          <a:prstGeom prst="rect">
            <a:avLst/>
          </a:prstGeom>
        </p:spPr>
        <p:txBody>
          <a:bodyPr vert="horz" wrap="square" lIns="0" tIns="0" rIns="0" bIns="0" rtlCol="0">
            <a:spAutoFit/>
          </a:bodyPr>
          <a:lstStyle>
            <a:lvl1pPr marL="114300" indent="-114300" algn="l" defTabSz="640080" rtl="0" eaLnBrk="1" latinLnBrk="0" hangingPunct="1">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3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714"/>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Portal use for patients who use the internet at least once per day</a:t>
            </a:r>
          </a:p>
        </p:txBody>
      </p:sp>
      <p:sp>
        <p:nvSpPr>
          <p:cNvPr id="37" name="TextBox 36">
            <a:extLst>
              <a:ext uri="{FF2B5EF4-FFF2-40B4-BE49-F238E27FC236}">
                <a16:creationId xmlns:a16="http://schemas.microsoft.com/office/drawing/2014/main" id="{0533DFA3-7EB3-4A13-B64C-3C59B4D00247}"/>
              </a:ext>
            </a:extLst>
          </p:cNvPr>
          <p:cNvSpPr txBox="1"/>
          <p:nvPr/>
        </p:nvSpPr>
        <p:spPr bwMode="gray">
          <a:xfrm>
            <a:off x="9013698" y="4359758"/>
            <a:ext cx="1108129"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9%</a:t>
            </a:r>
          </a:p>
        </p:txBody>
      </p:sp>
      <p:sp>
        <p:nvSpPr>
          <p:cNvPr id="38" name="Text Placeholder 9">
            <a:extLst>
              <a:ext uri="{FF2B5EF4-FFF2-40B4-BE49-F238E27FC236}">
                <a16:creationId xmlns:a16="http://schemas.microsoft.com/office/drawing/2014/main" id="{F96F9A09-D6C8-4DC6-B110-7DED451B3BAE}"/>
              </a:ext>
            </a:extLst>
          </p:cNvPr>
          <p:cNvSpPr>
            <a:spLocks noGrp="1"/>
          </p:cNvSpPr>
          <p:nvPr/>
        </p:nvSpPr>
        <p:spPr bwMode="gray">
          <a:xfrm>
            <a:off x="9013698" y="4989862"/>
            <a:ext cx="1463040" cy="646331"/>
          </a:xfrm>
          <a:prstGeom prst="rect">
            <a:avLst/>
          </a:prstGeom>
        </p:spPr>
        <p:txBody>
          <a:bodyPr vert="horz" wrap="square" lIns="0" tIns="0" rIns="0" bIns="0" rtlCol="0">
            <a:spAutoFit/>
          </a:bodyPr>
          <a:lstStyle>
            <a:lvl1pPr marL="114300" indent="-114300" algn="l" defTabSz="640080" rtl="0" eaLnBrk="1" latinLnBrk="0" hangingPunct="1">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3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714"/>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Portal use for patients who do not use internet at least once per day</a:t>
            </a:r>
          </a:p>
        </p:txBody>
      </p:sp>
      <p:sp>
        <p:nvSpPr>
          <p:cNvPr id="39" name="Text Placeholder 9">
            <a:extLst>
              <a:ext uri="{FF2B5EF4-FFF2-40B4-BE49-F238E27FC236}">
                <a16:creationId xmlns:a16="http://schemas.microsoft.com/office/drawing/2014/main" id="{408902CF-94ED-47D9-A914-22F510B3876C}"/>
              </a:ext>
            </a:extLst>
          </p:cNvPr>
          <p:cNvSpPr>
            <a:spLocks noGrp="1"/>
          </p:cNvSpPr>
          <p:nvPr/>
        </p:nvSpPr>
        <p:spPr bwMode="gray">
          <a:xfrm>
            <a:off x="8302135" y="4682924"/>
            <a:ext cx="314040" cy="230832"/>
          </a:xfrm>
          <a:prstGeom prst="rect">
            <a:avLst/>
          </a:prstGeom>
        </p:spPr>
        <p:txBody>
          <a:bodyPr vert="horz" wrap="square" lIns="0" tIns="0" rIns="0" bIns="0" rtlCol="0">
            <a:spAutoFit/>
          </a:bodyPr>
          <a:lstStyle>
            <a:lvl1pPr marL="114300" indent="-114300" algn="l" defTabSz="640080" rtl="0" eaLnBrk="1" latinLnBrk="0" hangingPunct="1">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3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3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714"/>
              </a:spcBef>
              <a:spcAft>
                <a:spcPts val="0"/>
              </a:spcAft>
              <a:buClr>
                <a:srgbClr val="CE0E2D"/>
              </a:buClr>
              <a:buSzTx/>
              <a:buFont typeface="Arial" pitchFamily="34" charset="0"/>
              <a:buNone/>
              <a:tabLst/>
              <a:defRPr/>
            </a:pPr>
            <a:r>
              <a:rPr kumimoji="0" lang="en-US" sz="1500" b="1" i="0" u="none" strike="noStrike" kern="1200" cap="none" spc="0" normalizeH="0" baseline="0" noProof="0">
                <a:ln>
                  <a:noFill/>
                </a:ln>
                <a:solidFill>
                  <a:srgbClr val="323E48"/>
                </a:solidFill>
                <a:effectLst/>
                <a:uLnTx/>
                <a:uFillTx/>
                <a:latin typeface="Arial" panose="020B0604020202020204"/>
                <a:ea typeface="+mn-ea"/>
                <a:cs typeface="+mn-cs"/>
              </a:rPr>
              <a:t>vs</a:t>
            </a:r>
            <a:r>
              <a:rPr kumimoji="0" lang="en-US" sz="1500" b="0" i="0" u="none" strike="noStrike" kern="1200" cap="none" spc="0" normalizeH="0" baseline="0" noProof="0">
                <a:ln>
                  <a:noFill/>
                </a:ln>
                <a:solidFill>
                  <a:srgbClr val="323E48"/>
                </a:solidFill>
                <a:effectLst/>
                <a:uLnTx/>
                <a:uFillTx/>
                <a:latin typeface="Arial" panose="020B0604020202020204"/>
                <a:ea typeface="+mn-ea"/>
                <a:cs typeface="+mn-cs"/>
              </a:rPr>
              <a:t>.</a:t>
            </a:r>
          </a:p>
        </p:txBody>
      </p:sp>
      <p:grpSp>
        <p:nvGrpSpPr>
          <p:cNvPr id="40" name="Group 39">
            <a:extLst>
              <a:ext uri="{FF2B5EF4-FFF2-40B4-BE49-F238E27FC236}">
                <a16:creationId xmlns:a16="http://schemas.microsoft.com/office/drawing/2014/main" id="{0ABEFCEC-A02A-43DE-8BCF-DE065543701F}"/>
              </a:ext>
            </a:extLst>
          </p:cNvPr>
          <p:cNvGrpSpPr/>
          <p:nvPr/>
        </p:nvGrpSpPr>
        <p:grpSpPr>
          <a:xfrm>
            <a:off x="7089084" y="2149210"/>
            <a:ext cx="3387287" cy="1344816"/>
            <a:chOff x="4810970" y="3573030"/>
            <a:chExt cx="3387287" cy="1344816"/>
          </a:xfrm>
        </p:grpSpPr>
        <p:sp>
          <p:nvSpPr>
            <p:cNvPr id="41" name="Rectangle 40">
              <a:extLst>
                <a:ext uri="{FF2B5EF4-FFF2-40B4-BE49-F238E27FC236}">
                  <a16:creationId xmlns:a16="http://schemas.microsoft.com/office/drawing/2014/main" id="{7AD61D20-DEB7-48E1-9251-C243B1D8711B}"/>
                </a:ext>
              </a:extLst>
            </p:cNvPr>
            <p:cNvSpPr/>
            <p:nvPr/>
          </p:nvSpPr>
          <p:spPr bwMode="gray">
            <a:xfrm>
              <a:off x="4810970" y="4271515"/>
              <a:ext cx="3387287" cy="646331"/>
            </a:xfrm>
            <a:prstGeom prst="rect">
              <a:avLst/>
            </a:prstGeom>
          </p:spPr>
          <p:txBody>
            <a:bodyPr wrap="square" lIns="0" tIns="0" rIns="0" bIns="0" anchor="t" anchorCtr="0">
              <a:spAutoFit/>
            </a:bodyPr>
            <a:lstStyle/>
            <a:p>
              <a:pPr marL="0" marR="0" lvl="0" indent="0" algn="l" defTabSz="914400" rtl="0" eaLnBrk="1" fontAlgn="auto" latinLnBrk="0" hangingPunct="1">
                <a:lnSpc>
                  <a:spcPct val="100000"/>
                </a:lnSpc>
                <a:spcBef>
                  <a:spcPts val="714"/>
                </a:spcBef>
                <a:spcAft>
                  <a:spcPts val="0"/>
                </a:spcAft>
                <a:buClrTx/>
                <a:buSzTx/>
                <a:buFontTx/>
                <a:buNone/>
                <a:tabLst/>
                <a:defRPr/>
              </a:pP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Percentage of people living 70+ minutes from a PCP who have necessary bandwidth for a telehealth visit</a:t>
              </a:r>
            </a:p>
          </p:txBody>
        </p:sp>
        <p:sp>
          <p:nvSpPr>
            <p:cNvPr id="42" name="Rectangle 41">
              <a:extLst>
                <a:ext uri="{FF2B5EF4-FFF2-40B4-BE49-F238E27FC236}">
                  <a16:creationId xmlns:a16="http://schemas.microsoft.com/office/drawing/2014/main" id="{989660FE-BA75-4D48-AACB-4B5E6AEEC5BC}"/>
                </a:ext>
              </a:extLst>
            </p:cNvPr>
            <p:cNvSpPr/>
            <p:nvPr/>
          </p:nvSpPr>
          <p:spPr bwMode="gray">
            <a:xfrm>
              <a:off x="4810971" y="3573030"/>
              <a:ext cx="1289781"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571"/>
                </a:spcBef>
                <a:spcAft>
                  <a:spcPts val="0"/>
                </a:spcAft>
                <a:buClrTx/>
                <a:buSzTx/>
                <a:buFontTx/>
                <a:buNone/>
                <a:tabLst/>
                <a:defRPr/>
              </a:pPr>
              <a:r>
                <a:rPr kumimoji="0" lang="en-US" sz="3600" b="0" i="0" u="none" strike="noStrike" kern="1200" cap="none" spc="0" normalizeH="0" baseline="0" noProof="0">
                  <a:ln>
                    <a:noFill/>
                  </a:ln>
                  <a:solidFill>
                    <a:srgbClr val="CE0E2D"/>
                  </a:solidFill>
                  <a:effectLst/>
                  <a:uLnTx/>
                  <a:uFillTx/>
                  <a:latin typeface="Times New Roman" panose="02020603050405020304"/>
                  <a:ea typeface="+mn-ea"/>
                  <a:cs typeface="+mn-cs"/>
                </a:rPr>
                <a:t>&lt;40%</a:t>
              </a:r>
            </a:p>
          </p:txBody>
        </p:sp>
      </p:grpSp>
    </p:spTree>
    <p:extLst>
      <p:ext uri="{BB962C8B-B14F-4D97-AF65-F5344CB8AC3E}">
        <p14:creationId xmlns:p14="http://schemas.microsoft.com/office/powerpoint/2010/main" val="31437434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EE0C2E-D43C-4A61-BB6B-9217756CACCB}"/>
              </a:ext>
            </a:extLst>
          </p:cNvPr>
          <p:cNvSpPr>
            <a:spLocks noGrp="1"/>
          </p:cNvSpPr>
          <p:nvPr>
            <p:ph type="body" sz="quarter" idx="28"/>
          </p:nvPr>
        </p:nvSpPr>
        <p:spPr/>
        <p:txBody>
          <a:bodyPr/>
          <a:lstStyle/>
          <a:p>
            <a:endParaRPr lang="en-US"/>
          </a:p>
        </p:txBody>
      </p:sp>
      <p:sp>
        <p:nvSpPr>
          <p:cNvPr id="3" name="Text Placeholder 2">
            <a:extLst>
              <a:ext uri="{FF2B5EF4-FFF2-40B4-BE49-F238E27FC236}">
                <a16:creationId xmlns:a16="http://schemas.microsoft.com/office/drawing/2014/main" id="{0569CCF0-14EB-4429-A230-06CFFB6B3D94}"/>
              </a:ext>
            </a:extLst>
          </p:cNvPr>
          <p:cNvSpPr>
            <a:spLocks noGrp="1"/>
          </p:cNvSpPr>
          <p:nvPr>
            <p:ph type="body" sz="quarter" idx="27"/>
          </p:nvPr>
        </p:nvSpPr>
        <p:spPr>
          <a:xfrm>
            <a:off x="8521471" y="5939439"/>
            <a:ext cx="3057754" cy="215444"/>
          </a:xfrm>
        </p:spPr>
        <p:txBody>
          <a:bodyPr/>
          <a:lstStyle/>
          <a:p>
            <a:r>
              <a:rPr lang="en-US"/>
              <a:t>Source: Sieck C, </a:t>
            </a:r>
            <a:r>
              <a:rPr lang="en-US" err="1"/>
              <a:t>Sheon</a:t>
            </a:r>
            <a:r>
              <a:rPr lang="en-US"/>
              <a:t> A, </a:t>
            </a:r>
            <a:r>
              <a:rPr lang="en-US" err="1"/>
              <a:t>Ancker</a:t>
            </a:r>
            <a:r>
              <a:rPr lang="en-US"/>
              <a:t> J, </a:t>
            </a:r>
            <a:r>
              <a:rPr lang="en-US" err="1"/>
              <a:t>Castek</a:t>
            </a:r>
            <a:r>
              <a:rPr lang="en-US"/>
              <a:t> J, Callahan B and </a:t>
            </a:r>
            <a:r>
              <a:rPr lang="en-US" err="1"/>
              <a:t>Siefer</a:t>
            </a:r>
            <a:r>
              <a:rPr lang="en-US"/>
              <a:t> A, “</a:t>
            </a:r>
            <a:r>
              <a:rPr lang="en-US">
                <a:hlinkClick r:id="rId3"/>
              </a:rPr>
              <a:t>Digital inclusion as a social determinant of health</a:t>
            </a:r>
            <a:r>
              <a:rPr lang="en-US"/>
              <a:t>,” March 17, 2021, </a:t>
            </a:r>
            <a:r>
              <a:rPr lang="en-US" i="1"/>
              <a:t>Nature</a:t>
            </a:r>
            <a:r>
              <a:rPr lang="en-US"/>
              <a:t>. </a:t>
            </a:r>
          </a:p>
        </p:txBody>
      </p:sp>
      <p:sp>
        <p:nvSpPr>
          <p:cNvPr id="4" name="Title 3">
            <a:extLst>
              <a:ext uri="{FF2B5EF4-FFF2-40B4-BE49-F238E27FC236}">
                <a16:creationId xmlns:a16="http://schemas.microsoft.com/office/drawing/2014/main" id="{22B12337-CA2F-4692-AC07-EF2C2A78210F}"/>
              </a:ext>
            </a:extLst>
          </p:cNvPr>
          <p:cNvSpPr>
            <a:spLocks noGrp="1"/>
          </p:cNvSpPr>
          <p:nvPr>
            <p:ph type="title"/>
          </p:nvPr>
        </p:nvSpPr>
        <p:spPr/>
        <p:txBody>
          <a:bodyPr/>
          <a:lstStyle/>
          <a:p>
            <a:r>
              <a:rPr lang="en-US"/>
              <a:t>Access is a foundational issue </a:t>
            </a:r>
          </a:p>
        </p:txBody>
      </p:sp>
      <p:grpSp>
        <p:nvGrpSpPr>
          <p:cNvPr id="28" name="Group 27">
            <a:extLst>
              <a:ext uri="{FF2B5EF4-FFF2-40B4-BE49-F238E27FC236}">
                <a16:creationId xmlns:a16="http://schemas.microsoft.com/office/drawing/2014/main" id="{F1BDFFEA-AFA9-4EC1-AF19-F548B178C6DB}"/>
              </a:ext>
            </a:extLst>
          </p:cNvPr>
          <p:cNvGrpSpPr/>
          <p:nvPr/>
        </p:nvGrpSpPr>
        <p:grpSpPr>
          <a:xfrm>
            <a:off x="5576876" y="3391432"/>
            <a:ext cx="1054172" cy="1054172"/>
            <a:chOff x="3285782" y="3570022"/>
            <a:chExt cx="1054172" cy="1054172"/>
          </a:xfrm>
        </p:grpSpPr>
        <p:sp>
          <p:nvSpPr>
            <p:cNvPr id="32" name="Oval 31">
              <a:extLst>
                <a:ext uri="{FF2B5EF4-FFF2-40B4-BE49-F238E27FC236}">
                  <a16:creationId xmlns:a16="http://schemas.microsoft.com/office/drawing/2014/main" id="{8D9F87BA-17EC-42D7-A690-AC9E65BB6C7B}"/>
                </a:ext>
              </a:extLst>
            </p:cNvPr>
            <p:cNvSpPr>
              <a:spLocks noChangeAspect="1"/>
            </p:cNvSpPr>
            <p:nvPr/>
          </p:nvSpPr>
          <p:spPr bwMode="gray">
            <a:xfrm>
              <a:off x="3285782" y="3570022"/>
              <a:ext cx="1054172" cy="1054172"/>
            </a:xfrm>
            <a:prstGeom prst="ellipse">
              <a:avLst/>
            </a:prstGeom>
            <a:solidFill>
              <a:schemeClr val="tx2"/>
            </a:solidFill>
            <a:ln w="19050">
              <a:noFill/>
            </a:ln>
            <a:effectLst>
              <a:outerShdw blurRad="292100" sx="104000" sy="104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32"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3" name="Picture 32">
              <a:extLst>
                <a:ext uri="{FF2B5EF4-FFF2-40B4-BE49-F238E27FC236}">
                  <a16:creationId xmlns:a16="http://schemas.microsoft.com/office/drawing/2014/main" id="{6049491B-FDC5-4E14-9A33-06EAF247BC4C}"/>
                </a:ext>
              </a:extLst>
            </p:cNvPr>
            <p:cNvPicPr>
              <a:picLocks noChangeAspect="1"/>
            </p:cNvPicPr>
            <p:nvPr/>
          </p:nvPicPr>
          <p:blipFill>
            <a:blip r:embed="rId4"/>
            <a:srcRect/>
            <a:stretch/>
          </p:blipFill>
          <p:spPr>
            <a:xfrm>
              <a:off x="3474834" y="3817485"/>
              <a:ext cx="676070" cy="559247"/>
            </a:xfrm>
            <a:prstGeom prst="rect">
              <a:avLst/>
            </a:prstGeom>
          </p:spPr>
        </p:pic>
      </p:grpSp>
      <p:cxnSp>
        <p:nvCxnSpPr>
          <p:cNvPr id="34" name="Straight Connector 33">
            <a:extLst>
              <a:ext uri="{FF2B5EF4-FFF2-40B4-BE49-F238E27FC236}">
                <a16:creationId xmlns:a16="http://schemas.microsoft.com/office/drawing/2014/main" id="{F8A2BE97-61BB-4046-A2FE-5D7E2BE16A9F}"/>
              </a:ext>
            </a:extLst>
          </p:cNvPr>
          <p:cNvCxnSpPr>
            <a:cxnSpLocks/>
          </p:cNvCxnSpPr>
          <p:nvPr/>
        </p:nvCxnSpPr>
        <p:spPr bwMode="gray">
          <a:xfrm flipV="1">
            <a:off x="6732147" y="3197884"/>
            <a:ext cx="656076"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C1499E9-B409-4376-985D-ACD4ADCD6453}"/>
              </a:ext>
            </a:extLst>
          </p:cNvPr>
          <p:cNvCxnSpPr>
            <a:cxnSpLocks/>
          </p:cNvCxnSpPr>
          <p:nvPr/>
        </p:nvCxnSpPr>
        <p:spPr bwMode="gray">
          <a:xfrm>
            <a:off x="6687997" y="4278199"/>
            <a:ext cx="656076"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F6CF17-977B-4E55-87E7-7E05718E4DE8}"/>
              </a:ext>
            </a:extLst>
          </p:cNvPr>
          <p:cNvCxnSpPr>
            <a:cxnSpLocks/>
          </p:cNvCxnSpPr>
          <p:nvPr/>
        </p:nvCxnSpPr>
        <p:spPr bwMode="gray">
          <a:xfrm flipH="1">
            <a:off x="4844085" y="4278199"/>
            <a:ext cx="653907" cy="328038"/>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7E1A65B-EA0C-4347-BCFE-167B882B4E8E}"/>
              </a:ext>
            </a:extLst>
          </p:cNvPr>
          <p:cNvCxnSpPr>
            <a:cxnSpLocks/>
          </p:cNvCxnSpPr>
          <p:nvPr/>
        </p:nvCxnSpPr>
        <p:spPr bwMode="gray">
          <a:xfrm flipH="1" flipV="1">
            <a:off x="4835351" y="3196040"/>
            <a:ext cx="656076" cy="329882"/>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6CF5EF4-DD1C-4F39-952D-AD3E65693697}"/>
              </a:ext>
            </a:extLst>
          </p:cNvPr>
          <p:cNvCxnSpPr>
            <a:cxnSpLocks/>
          </p:cNvCxnSpPr>
          <p:nvPr/>
        </p:nvCxnSpPr>
        <p:spPr bwMode="gray">
          <a:xfrm flipH="1">
            <a:off x="6104300" y="4594560"/>
            <a:ext cx="0" cy="656076"/>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64C3D07-8A8B-4EED-9DEE-02477A34587B}"/>
              </a:ext>
            </a:extLst>
          </p:cNvPr>
          <p:cNvSpPr txBox="1"/>
          <p:nvPr/>
        </p:nvSpPr>
        <p:spPr bwMode="gray">
          <a:xfrm>
            <a:off x="3001507" y="2961497"/>
            <a:ext cx="1784720" cy="46166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41"/>
              </a:spcBef>
              <a:spcAft>
                <a:spcPts val="0"/>
              </a:spcAft>
              <a:buClr>
                <a:srgbClr val="CE0E2D"/>
              </a:buClr>
              <a:buSzTx/>
              <a:buFontTx/>
              <a:buNone/>
              <a:tabLst/>
              <a:defRPr/>
            </a:pPr>
            <a:r>
              <a:rPr kumimoji="0" lang="en-US" sz="1500" b="1" i="0" u="none" strike="noStrike" kern="1200" cap="none" spc="0" normalizeH="0" baseline="0" noProof="0">
                <a:ln>
                  <a:noFill/>
                </a:ln>
                <a:effectLst/>
                <a:uLnTx/>
                <a:uFillTx/>
                <a:latin typeface="Arial" panose="020B0604020202020204"/>
                <a:ea typeface="+mn-ea"/>
                <a:cs typeface="+mn-cs"/>
              </a:rPr>
              <a:t>Broadband connectivity </a:t>
            </a:r>
          </a:p>
        </p:txBody>
      </p:sp>
      <p:cxnSp>
        <p:nvCxnSpPr>
          <p:cNvPr id="40" name="Straight Connector 39">
            <a:extLst>
              <a:ext uri="{FF2B5EF4-FFF2-40B4-BE49-F238E27FC236}">
                <a16:creationId xmlns:a16="http://schemas.microsoft.com/office/drawing/2014/main" id="{35ED579C-04CB-4522-A413-C409E982650C}"/>
              </a:ext>
            </a:extLst>
          </p:cNvPr>
          <p:cNvCxnSpPr>
            <a:cxnSpLocks/>
          </p:cNvCxnSpPr>
          <p:nvPr/>
        </p:nvCxnSpPr>
        <p:spPr bwMode="gray">
          <a:xfrm flipH="1">
            <a:off x="6103962" y="2464532"/>
            <a:ext cx="338" cy="656076"/>
          </a:xfrm>
          <a:prstGeom prst="line">
            <a:avLst/>
          </a:prstGeom>
          <a:ln w="9525">
            <a:solidFill>
              <a:schemeClr val="accent6"/>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D0FB70A-8C07-4969-8D11-E1CAC93F7BBE}"/>
              </a:ext>
            </a:extLst>
          </p:cNvPr>
          <p:cNvSpPr txBox="1"/>
          <p:nvPr/>
        </p:nvSpPr>
        <p:spPr bwMode="gray">
          <a:xfrm>
            <a:off x="3390925" y="4539267"/>
            <a:ext cx="1395302" cy="2308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41"/>
              </a:spcBef>
              <a:spcAft>
                <a:spcPts val="0"/>
              </a:spcAft>
              <a:buClr>
                <a:srgbClr val="CE0E2D"/>
              </a:buClr>
              <a:buSzTx/>
              <a:buFontTx/>
              <a:buNone/>
              <a:tabLst/>
              <a:defRPr/>
            </a:pPr>
            <a:r>
              <a:rPr kumimoji="0" lang="en-US" sz="1500" b="1" i="0" u="none" strike="noStrike" kern="1200" cap="none" spc="0" normalizeH="0" baseline="0" noProof="0">
                <a:ln>
                  <a:noFill/>
                </a:ln>
                <a:effectLst/>
                <a:uLnTx/>
                <a:uFillTx/>
                <a:latin typeface="Arial" panose="020B0604020202020204"/>
                <a:ea typeface="+mn-ea"/>
                <a:cs typeface="+mn-cs"/>
              </a:rPr>
              <a:t>Device access</a:t>
            </a:r>
          </a:p>
        </p:txBody>
      </p:sp>
      <p:sp>
        <p:nvSpPr>
          <p:cNvPr id="42" name="TextBox 41">
            <a:extLst>
              <a:ext uri="{FF2B5EF4-FFF2-40B4-BE49-F238E27FC236}">
                <a16:creationId xmlns:a16="http://schemas.microsoft.com/office/drawing/2014/main" id="{C02935B0-77D8-463B-8516-8847679208F7}"/>
              </a:ext>
            </a:extLst>
          </p:cNvPr>
          <p:cNvSpPr txBox="1"/>
          <p:nvPr/>
        </p:nvSpPr>
        <p:spPr bwMode="gray">
          <a:xfrm>
            <a:off x="5149884" y="2205842"/>
            <a:ext cx="1892231"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500" b="0" i="0" u="none" strike="noStrike" kern="1200" cap="none" spc="0" normalizeH="0" baseline="0" noProof="0">
                <a:ln>
                  <a:noFill/>
                </a:ln>
                <a:solidFill>
                  <a:schemeClr val="accent2"/>
                </a:solidFill>
                <a:effectLst/>
                <a:uLnTx/>
                <a:uFillTx/>
                <a:latin typeface="Arial" panose="020B0604020202020204"/>
                <a:ea typeface="+mn-ea"/>
                <a:cs typeface="+mn-cs"/>
              </a:rPr>
              <a:t>Trust</a:t>
            </a:r>
          </a:p>
        </p:txBody>
      </p:sp>
      <p:sp>
        <p:nvSpPr>
          <p:cNvPr id="43" name="TextBox 42">
            <a:extLst>
              <a:ext uri="{FF2B5EF4-FFF2-40B4-BE49-F238E27FC236}">
                <a16:creationId xmlns:a16="http://schemas.microsoft.com/office/drawing/2014/main" id="{FF29D2BE-79E6-405F-85AE-C65969938B59}"/>
              </a:ext>
            </a:extLst>
          </p:cNvPr>
          <p:cNvSpPr txBox="1"/>
          <p:nvPr/>
        </p:nvSpPr>
        <p:spPr bwMode="gray">
          <a:xfrm>
            <a:off x="7437347" y="2961497"/>
            <a:ext cx="1851730" cy="230832"/>
          </a:xfrm>
          <a:prstGeom prst="rect">
            <a:avLst/>
          </a:prstGeom>
          <a:noFill/>
        </p:spPr>
        <p:txBody>
          <a:bodyPr wrap="square" lIns="0" tIns="0" rIns="0" bIns="0" rtlCol="0">
            <a:spAutoFit/>
          </a:bodyPr>
          <a:lstStyle/>
          <a:p>
            <a:pPr lvl="0">
              <a:spcBef>
                <a:spcPts val="341"/>
              </a:spcBef>
              <a:buClr>
                <a:srgbClr val="CE0E2D"/>
              </a:buClr>
              <a:defRPr/>
            </a:pPr>
            <a:r>
              <a:rPr lang="en-US" sz="1500">
                <a:solidFill>
                  <a:schemeClr val="accent2"/>
                </a:solidFill>
              </a:rPr>
              <a:t>Digital literacy	</a:t>
            </a:r>
          </a:p>
        </p:txBody>
      </p:sp>
      <p:sp>
        <p:nvSpPr>
          <p:cNvPr id="44" name="TextBox 43">
            <a:extLst>
              <a:ext uri="{FF2B5EF4-FFF2-40B4-BE49-F238E27FC236}">
                <a16:creationId xmlns:a16="http://schemas.microsoft.com/office/drawing/2014/main" id="{EDA82EA3-E0B3-427D-BFF1-C045D7860A53}"/>
              </a:ext>
            </a:extLst>
          </p:cNvPr>
          <p:cNvSpPr txBox="1"/>
          <p:nvPr/>
        </p:nvSpPr>
        <p:spPr bwMode="gray">
          <a:xfrm>
            <a:off x="5301543" y="5262155"/>
            <a:ext cx="1620487"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41"/>
              </a:spcBef>
              <a:spcAft>
                <a:spcPts val="0"/>
              </a:spcAft>
              <a:buClr>
                <a:srgbClr val="CE0E2D"/>
              </a:buClr>
              <a:buSzTx/>
              <a:buFontTx/>
              <a:buNone/>
              <a:tabLst/>
              <a:defRPr/>
            </a:pPr>
            <a:r>
              <a:rPr kumimoji="0" lang="en-US" sz="1500" b="1" i="0" u="none" strike="noStrike" kern="1200" cap="none" spc="0" normalizeH="0" baseline="0" noProof="0">
                <a:ln>
                  <a:noFill/>
                </a:ln>
                <a:effectLst/>
                <a:uLnTx/>
                <a:uFillTx/>
                <a:latin typeface="Arial" panose="020B0604020202020204"/>
                <a:ea typeface="+mn-ea"/>
                <a:cs typeface="+mn-cs"/>
              </a:rPr>
              <a:t>Affordability</a:t>
            </a:r>
          </a:p>
        </p:txBody>
      </p:sp>
      <p:sp>
        <p:nvSpPr>
          <p:cNvPr id="45" name="TextBox 44">
            <a:extLst>
              <a:ext uri="{FF2B5EF4-FFF2-40B4-BE49-F238E27FC236}">
                <a16:creationId xmlns:a16="http://schemas.microsoft.com/office/drawing/2014/main" id="{3AD5B667-7AA5-40F1-9624-3927E110957C}"/>
              </a:ext>
            </a:extLst>
          </p:cNvPr>
          <p:cNvSpPr txBox="1"/>
          <p:nvPr/>
        </p:nvSpPr>
        <p:spPr bwMode="gray">
          <a:xfrm>
            <a:off x="7437347" y="4539267"/>
            <a:ext cx="1325509"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41"/>
              </a:spcBef>
              <a:spcAft>
                <a:spcPts val="0"/>
              </a:spcAft>
              <a:buClr>
                <a:srgbClr val="CE0E2D"/>
              </a:buClr>
              <a:buSzTx/>
              <a:buFontTx/>
              <a:buNone/>
              <a:tabLst/>
              <a:defRPr/>
            </a:pPr>
            <a:r>
              <a:rPr lang="en-US" sz="1500">
                <a:solidFill>
                  <a:schemeClr val="accent2"/>
                </a:solidFill>
                <a:latin typeface="Arial" panose="020B0604020202020204"/>
              </a:rPr>
              <a:t>UX Accessibility</a:t>
            </a:r>
            <a:endParaRPr kumimoji="0" lang="en-US" sz="1500" b="0" i="0" u="none" strike="sngStrike" kern="1200" cap="none" spc="0" normalizeH="0" baseline="0" noProof="0">
              <a:ln>
                <a:noFill/>
              </a:ln>
              <a:solidFill>
                <a:schemeClr val="accent2"/>
              </a:solidFill>
              <a:effectLst/>
              <a:uLnTx/>
              <a:uFillTx/>
              <a:latin typeface="Arial" panose="020B0604020202020204"/>
            </a:endParaRPr>
          </a:p>
        </p:txBody>
      </p:sp>
      <p:sp>
        <p:nvSpPr>
          <p:cNvPr id="49" name="TextBox 48">
            <a:extLst>
              <a:ext uri="{FF2B5EF4-FFF2-40B4-BE49-F238E27FC236}">
                <a16:creationId xmlns:a16="http://schemas.microsoft.com/office/drawing/2014/main" id="{59648B4D-9AEB-4B24-8F53-7D39FA3E2403}"/>
              </a:ext>
            </a:extLst>
          </p:cNvPr>
          <p:cNvSpPr txBox="1"/>
          <p:nvPr/>
        </p:nvSpPr>
        <p:spPr bwMode="gray">
          <a:xfrm>
            <a:off x="612773" y="1756885"/>
            <a:ext cx="6202496"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600" b="1" i="0" u="none" strike="noStrike" kern="1200" cap="none" spc="0" normalizeH="0" baseline="0" noProof="0">
                <a:ln>
                  <a:noFill/>
                </a:ln>
                <a:solidFill>
                  <a:srgbClr val="323E48"/>
                </a:solidFill>
                <a:effectLst/>
                <a:uLnTx/>
                <a:uFillTx/>
                <a:latin typeface="Arial" panose="020B0604020202020204"/>
                <a:ea typeface="+mn-ea"/>
                <a:cs typeface="+mn-cs"/>
              </a:rPr>
              <a:t>Elements of digital inequity </a:t>
            </a:r>
          </a:p>
        </p:txBody>
      </p:sp>
    </p:spTree>
    <p:extLst>
      <p:ext uri="{BB962C8B-B14F-4D97-AF65-F5344CB8AC3E}">
        <p14:creationId xmlns:p14="http://schemas.microsoft.com/office/powerpoint/2010/main" val="3552415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1AA754-ADC4-4CAD-8E92-4856CAA8F8B8}"/>
              </a:ext>
            </a:extLst>
          </p:cNvPr>
          <p:cNvSpPr>
            <a:spLocks noGrp="1"/>
          </p:cNvSpPr>
          <p:nvPr>
            <p:ph type="body" sz="quarter" idx="28"/>
          </p:nvPr>
        </p:nvSpPr>
        <p:spPr>
          <a:xfrm>
            <a:off x="612773" y="6060046"/>
            <a:ext cx="3657600" cy="107722"/>
          </a:xfrm>
        </p:spPr>
        <p:txBody>
          <a:bodyPr/>
          <a:lstStyle/>
          <a:p>
            <a:pPr marL="0" indent="0">
              <a:buNone/>
            </a:pPr>
            <a:r>
              <a:rPr lang="en-US"/>
              <a:t>  </a:t>
            </a:r>
          </a:p>
        </p:txBody>
      </p:sp>
      <p:sp>
        <p:nvSpPr>
          <p:cNvPr id="3" name="Text Placeholder 2">
            <a:extLst>
              <a:ext uri="{FF2B5EF4-FFF2-40B4-BE49-F238E27FC236}">
                <a16:creationId xmlns:a16="http://schemas.microsoft.com/office/drawing/2014/main" id="{595E70E8-AD6A-4AC9-893F-9F650F91E24A}"/>
              </a:ext>
            </a:extLst>
          </p:cNvPr>
          <p:cNvSpPr>
            <a:spLocks noGrp="1"/>
          </p:cNvSpPr>
          <p:nvPr>
            <p:ph type="body" sz="quarter" idx="27"/>
          </p:nvPr>
        </p:nvSpPr>
        <p:spPr>
          <a:xfrm>
            <a:off x="8844182" y="5305994"/>
            <a:ext cx="2767408" cy="861774"/>
          </a:xfrm>
        </p:spPr>
        <p:txBody>
          <a:bodyPr/>
          <a:lstStyle/>
          <a:p>
            <a:r>
              <a:rPr lang="en-US"/>
              <a:t>Source: </a:t>
            </a:r>
            <a:r>
              <a:rPr lang="en-US" err="1"/>
              <a:t>Skandul</a:t>
            </a:r>
            <a:r>
              <a:rPr lang="en-US"/>
              <a:t> E, “</a:t>
            </a:r>
            <a:r>
              <a:rPr lang="en-US">
                <a:hlinkClick r:id="rId3"/>
              </a:rPr>
              <a:t>Why New York City needs universal internet access</a:t>
            </a:r>
            <a:r>
              <a:rPr lang="en-US"/>
              <a:t>,” City and State NY, August 2019; Bach T, “</a:t>
            </a:r>
            <a:r>
              <a:rPr lang="en-US">
                <a:hlinkClick r:id="rId4"/>
              </a:rPr>
              <a:t>Detroit’s digital divide is leaving nearly half the city offline</a:t>
            </a:r>
            <a:r>
              <a:rPr lang="en-US"/>
              <a:t>,” Detroit Metro Times, December 2017; Asher-Schapiro A,</a:t>
            </a:r>
            <a:r>
              <a:rPr lang="en-US">
                <a:hlinkClick r:id="rId5"/>
              </a:rPr>
              <a:t> “U.S. cities back broadband projects as COVID-19 exposes digital divide,” </a:t>
            </a:r>
            <a:r>
              <a:rPr lang="en-US"/>
              <a:t>Reuters, November 2020; Reddick C, et al., “</a:t>
            </a:r>
            <a:r>
              <a:rPr lang="en-US">
                <a:hlinkClick r:id="rId6"/>
              </a:rPr>
              <a:t>Determinants of broadband access and affordability: An analysis of a community survey on the digital divide</a:t>
            </a:r>
            <a:r>
              <a:rPr lang="en-US"/>
              <a:t>,” Cities, November 2020.</a:t>
            </a:r>
          </a:p>
        </p:txBody>
      </p:sp>
      <p:sp>
        <p:nvSpPr>
          <p:cNvPr id="4" name="Title 3">
            <a:extLst>
              <a:ext uri="{FF2B5EF4-FFF2-40B4-BE49-F238E27FC236}">
                <a16:creationId xmlns:a16="http://schemas.microsoft.com/office/drawing/2014/main" id="{7763492E-3612-433B-A1C6-03081475D685}"/>
              </a:ext>
            </a:extLst>
          </p:cNvPr>
          <p:cNvSpPr>
            <a:spLocks noGrp="1"/>
          </p:cNvSpPr>
          <p:nvPr>
            <p:ph type="title"/>
          </p:nvPr>
        </p:nvSpPr>
        <p:spPr>
          <a:xfrm>
            <a:off x="612774" y="588771"/>
            <a:ext cx="10972801" cy="540917"/>
          </a:xfrm>
        </p:spPr>
        <p:txBody>
          <a:bodyPr/>
          <a:lstStyle/>
          <a:p>
            <a:r>
              <a:rPr lang="en-US"/>
              <a:t>Broadband divide is everywhere, not just rural areas</a:t>
            </a:r>
          </a:p>
        </p:txBody>
      </p:sp>
      <p:sp>
        <p:nvSpPr>
          <p:cNvPr id="12" name="Line Callout 1 (No Border) 25">
            <a:extLst>
              <a:ext uri="{FF2B5EF4-FFF2-40B4-BE49-F238E27FC236}">
                <a16:creationId xmlns:a16="http://schemas.microsoft.com/office/drawing/2014/main" id="{8FD2CE15-08FD-44D6-ADCF-9CF91AD1E29B}"/>
              </a:ext>
            </a:extLst>
          </p:cNvPr>
          <p:cNvSpPr/>
          <p:nvPr/>
        </p:nvSpPr>
        <p:spPr bwMode="gray">
          <a:xfrm>
            <a:off x="627139" y="1750626"/>
            <a:ext cx="2604787" cy="2073095"/>
          </a:xfrm>
          <a:custGeom>
            <a:avLst/>
            <a:gdLst>
              <a:gd name="connsiteX0" fmla="*/ 0 w 2481943"/>
              <a:gd name="connsiteY0" fmla="*/ 0 h 818173"/>
              <a:gd name="connsiteX1" fmla="*/ 2481943 w 2481943"/>
              <a:gd name="connsiteY1" fmla="*/ 0 h 818173"/>
              <a:gd name="connsiteX2" fmla="*/ 2481943 w 2481943"/>
              <a:gd name="connsiteY2" fmla="*/ 818173 h 818173"/>
              <a:gd name="connsiteX3" fmla="*/ 0 w 2481943"/>
              <a:gd name="connsiteY3" fmla="*/ 818173 h 818173"/>
              <a:gd name="connsiteX4" fmla="*/ 0 w 2481943"/>
              <a:gd name="connsiteY4" fmla="*/ 0 h 818173"/>
              <a:gd name="connsiteX0" fmla="*/ 17597 w 2481943"/>
              <a:gd name="connsiteY0" fmla="*/ -425 h 818173"/>
              <a:gd name="connsiteX1" fmla="*/ 17473 w 2481943"/>
              <a:gd name="connsiteY1" fmla="*/ 818238 h 818173"/>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9174 w 2483520"/>
              <a:gd name="connsiteY0" fmla="*/ 0 h 818663"/>
              <a:gd name="connsiteX1" fmla="*/ 0 w 2483520"/>
              <a:gd name="connsiteY1" fmla="*/ 818663 h 818663"/>
              <a:gd name="connsiteX0" fmla="*/ 1577 w 2483520"/>
              <a:gd name="connsiteY0" fmla="*/ 5187 h 823425"/>
              <a:gd name="connsiteX1" fmla="*/ 2483520 w 2483520"/>
              <a:gd name="connsiteY1" fmla="*/ 5187 h 823425"/>
              <a:gd name="connsiteX2" fmla="*/ 2483520 w 2483520"/>
              <a:gd name="connsiteY2" fmla="*/ 823360 h 823425"/>
              <a:gd name="connsiteX3" fmla="*/ 1577 w 2483520"/>
              <a:gd name="connsiteY3" fmla="*/ 823360 h 823425"/>
              <a:gd name="connsiteX4" fmla="*/ 1577 w 2483520"/>
              <a:gd name="connsiteY4" fmla="*/ 5187 h 823425"/>
              <a:gd name="connsiteX0" fmla="*/ 2505 w 2483520"/>
              <a:gd name="connsiteY0" fmla="*/ 0 h 823425"/>
              <a:gd name="connsiteX1" fmla="*/ 0 w 2483520"/>
              <a:gd name="connsiteY1" fmla="*/ 823425 h 823425"/>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2505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2806 h 821044"/>
              <a:gd name="connsiteX1" fmla="*/ 2483520 w 2483520"/>
              <a:gd name="connsiteY1" fmla="*/ 2806 h 821044"/>
              <a:gd name="connsiteX2" fmla="*/ 2483520 w 2483520"/>
              <a:gd name="connsiteY2" fmla="*/ 820979 h 821044"/>
              <a:gd name="connsiteX3" fmla="*/ 1577 w 2483520"/>
              <a:gd name="connsiteY3" fmla="*/ 820979 h 821044"/>
              <a:gd name="connsiteX4" fmla="*/ 1577 w 2483520"/>
              <a:gd name="connsiteY4" fmla="*/ 2806 h 821044"/>
              <a:gd name="connsiteX0" fmla="*/ 124 w 2483520"/>
              <a:gd name="connsiteY0" fmla="*/ 0 h 821044"/>
              <a:gd name="connsiteX1" fmla="*/ 0 w 2483520"/>
              <a:gd name="connsiteY1" fmla="*/ 821044 h 821044"/>
              <a:gd name="connsiteX0" fmla="*/ 1577 w 2483520"/>
              <a:gd name="connsiteY0" fmla="*/ 425 h 818663"/>
              <a:gd name="connsiteX1" fmla="*/ 2483520 w 2483520"/>
              <a:gd name="connsiteY1" fmla="*/ 425 h 818663"/>
              <a:gd name="connsiteX2" fmla="*/ 2483520 w 2483520"/>
              <a:gd name="connsiteY2" fmla="*/ 818598 h 818663"/>
              <a:gd name="connsiteX3" fmla="*/ 1577 w 2483520"/>
              <a:gd name="connsiteY3" fmla="*/ 818598 h 818663"/>
              <a:gd name="connsiteX4" fmla="*/ 1577 w 2483520"/>
              <a:gd name="connsiteY4" fmla="*/ 425 h 818663"/>
              <a:gd name="connsiteX0" fmla="*/ 124 w 2483520"/>
              <a:gd name="connsiteY0" fmla="*/ 0 h 818663"/>
              <a:gd name="connsiteX1" fmla="*/ 0 w 2483520"/>
              <a:gd name="connsiteY1" fmla="*/ 818663 h 818663"/>
              <a:gd name="connsiteX0" fmla="*/ 1577 w 2483661"/>
              <a:gd name="connsiteY0" fmla="*/ 425 h 818663"/>
              <a:gd name="connsiteX1" fmla="*/ 2483520 w 2483661"/>
              <a:gd name="connsiteY1" fmla="*/ 425 h 818663"/>
              <a:gd name="connsiteX2" fmla="*/ 2483520 w 2483661"/>
              <a:gd name="connsiteY2" fmla="*/ 818598 h 818663"/>
              <a:gd name="connsiteX3" fmla="*/ 1577 w 2483661"/>
              <a:gd name="connsiteY3" fmla="*/ 818598 h 818663"/>
              <a:gd name="connsiteX4" fmla="*/ 1577 w 2483661"/>
              <a:gd name="connsiteY4" fmla="*/ 425 h 818663"/>
              <a:gd name="connsiteX0" fmla="*/ 2483661 w 2483661"/>
              <a:gd name="connsiteY0" fmla="*/ 0 h 818663"/>
              <a:gd name="connsiteX1" fmla="*/ 0 w 2483661"/>
              <a:gd name="connsiteY1" fmla="*/ 818663 h 818663"/>
              <a:gd name="connsiteX0" fmla="*/ 0 w 2482084"/>
              <a:gd name="connsiteY0" fmla="*/ 425 h 823019"/>
              <a:gd name="connsiteX1" fmla="*/ 2481943 w 2482084"/>
              <a:gd name="connsiteY1" fmla="*/ 425 h 823019"/>
              <a:gd name="connsiteX2" fmla="*/ 2481943 w 2482084"/>
              <a:gd name="connsiteY2" fmla="*/ 818598 h 823019"/>
              <a:gd name="connsiteX3" fmla="*/ 0 w 2482084"/>
              <a:gd name="connsiteY3" fmla="*/ 818598 h 823019"/>
              <a:gd name="connsiteX4" fmla="*/ 0 w 2482084"/>
              <a:gd name="connsiteY4" fmla="*/ 425 h 823019"/>
              <a:gd name="connsiteX0" fmla="*/ 2482084 w 2482084"/>
              <a:gd name="connsiteY0" fmla="*/ 0 h 823019"/>
              <a:gd name="connsiteX1" fmla="*/ 1975505 w 2482084"/>
              <a:gd name="connsiteY1" fmla="*/ 823019 h 823019"/>
              <a:gd name="connsiteX0" fmla="*/ 0 w 2482084"/>
              <a:gd name="connsiteY0" fmla="*/ 425 h 823019"/>
              <a:gd name="connsiteX1" fmla="*/ 2481943 w 2482084"/>
              <a:gd name="connsiteY1" fmla="*/ 425 h 823019"/>
              <a:gd name="connsiteX2" fmla="*/ 2481943 w 2482084"/>
              <a:gd name="connsiteY2" fmla="*/ 818598 h 823019"/>
              <a:gd name="connsiteX3" fmla="*/ 0 w 2482084"/>
              <a:gd name="connsiteY3" fmla="*/ 818598 h 823019"/>
              <a:gd name="connsiteX4" fmla="*/ 0 w 2482084"/>
              <a:gd name="connsiteY4" fmla="*/ 425 h 823019"/>
              <a:gd name="connsiteX0" fmla="*/ 2482084 w 2482084"/>
              <a:gd name="connsiteY0" fmla="*/ 0 h 823019"/>
              <a:gd name="connsiteX1" fmla="*/ 2481961 w 2482084"/>
              <a:gd name="connsiteY1" fmla="*/ 823019 h 823019"/>
              <a:gd name="connsiteX0" fmla="*/ 0 w 2482084"/>
              <a:gd name="connsiteY0" fmla="*/ 425 h 818598"/>
              <a:gd name="connsiteX1" fmla="*/ 2481943 w 2482084"/>
              <a:gd name="connsiteY1" fmla="*/ 425 h 818598"/>
              <a:gd name="connsiteX2" fmla="*/ 2481943 w 2482084"/>
              <a:gd name="connsiteY2" fmla="*/ 818598 h 818598"/>
              <a:gd name="connsiteX3" fmla="*/ 0 w 2482084"/>
              <a:gd name="connsiteY3" fmla="*/ 818598 h 818598"/>
              <a:gd name="connsiteX4" fmla="*/ 0 w 2482084"/>
              <a:gd name="connsiteY4" fmla="*/ 425 h 818598"/>
              <a:gd name="connsiteX0" fmla="*/ 2482084 w 2482084"/>
              <a:gd name="connsiteY0" fmla="*/ 0 h 818598"/>
              <a:gd name="connsiteX1" fmla="*/ 2481961 w 2482084"/>
              <a:gd name="connsiteY1" fmla="*/ 805594 h 818598"/>
              <a:gd name="connsiteX0" fmla="*/ 0 w 2482084"/>
              <a:gd name="connsiteY0" fmla="*/ 425 h 827375"/>
              <a:gd name="connsiteX1" fmla="*/ 2481943 w 2482084"/>
              <a:gd name="connsiteY1" fmla="*/ 425 h 827375"/>
              <a:gd name="connsiteX2" fmla="*/ 2481943 w 2482084"/>
              <a:gd name="connsiteY2" fmla="*/ 818598 h 827375"/>
              <a:gd name="connsiteX3" fmla="*/ 0 w 2482084"/>
              <a:gd name="connsiteY3" fmla="*/ 818598 h 827375"/>
              <a:gd name="connsiteX4" fmla="*/ 0 w 2482084"/>
              <a:gd name="connsiteY4" fmla="*/ 425 h 827375"/>
              <a:gd name="connsiteX0" fmla="*/ 2482084 w 2482084"/>
              <a:gd name="connsiteY0" fmla="*/ 0 h 827375"/>
              <a:gd name="connsiteX1" fmla="*/ 2481961 w 2482084"/>
              <a:gd name="connsiteY1" fmla="*/ 827375 h 827375"/>
              <a:gd name="connsiteX0" fmla="*/ 0 w 2482084"/>
              <a:gd name="connsiteY0" fmla="*/ 425 h 818598"/>
              <a:gd name="connsiteX1" fmla="*/ 2481943 w 2482084"/>
              <a:gd name="connsiteY1" fmla="*/ 425 h 818598"/>
              <a:gd name="connsiteX2" fmla="*/ 2481943 w 2482084"/>
              <a:gd name="connsiteY2" fmla="*/ 818598 h 818598"/>
              <a:gd name="connsiteX3" fmla="*/ 0 w 2482084"/>
              <a:gd name="connsiteY3" fmla="*/ 818598 h 818598"/>
              <a:gd name="connsiteX4" fmla="*/ 0 w 2482084"/>
              <a:gd name="connsiteY4" fmla="*/ 425 h 818598"/>
              <a:gd name="connsiteX0" fmla="*/ 2482084 w 2482084"/>
              <a:gd name="connsiteY0" fmla="*/ 0 h 818598"/>
              <a:gd name="connsiteX1" fmla="*/ 2481961 w 2482084"/>
              <a:gd name="connsiteY1" fmla="*/ 801238 h 818598"/>
              <a:gd name="connsiteX0" fmla="*/ 0 w 2482084"/>
              <a:gd name="connsiteY0" fmla="*/ 425 h 820841"/>
              <a:gd name="connsiteX1" fmla="*/ 2481943 w 2482084"/>
              <a:gd name="connsiteY1" fmla="*/ 425 h 820841"/>
              <a:gd name="connsiteX2" fmla="*/ 2481943 w 2482084"/>
              <a:gd name="connsiteY2" fmla="*/ 818598 h 820841"/>
              <a:gd name="connsiteX3" fmla="*/ 0 w 2482084"/>
              <a:gd name="connsiteY3" fmla="*/ 818598 h 820841"/>
              <a:gd name="connsiteX4" fmla="*/ 0 w 2482084"/>
              <a:gd name="connsiteY4" fmla="*/ 425 h 820841"/>
              <a:gd name="connsiteX0" fmla="*/ 2482084 w 2482084"/>
              <a:gd name="connsiteY0" fmla="*/ 0 h 820841"/>
              <a:gd name="connsiteX1" fmla="*/ 2479842 w 2482084"/>
              <a:gd name="connsiteY1" fmla="*/ 820841 h 820841"/>
              <a:gd name="connsiteX0" fmla="*/ 0 w 2482084"/>
              <a:gd name="connsiteY0" fmla="*/ 425 h 820841"/>
              <a:gd name="connsiteX1" fmla="*/ 2481943 w 2482084"/>
              <a:gd name="connsiteY1" fmla="*/ 425 h 820841"/>
              <a:gd name="connsiteX2" fmla="*/ 2481943 w 2482084"/>
              <a:gd name="connsiteY2" fmla="*/ 818598 h 820841"/>
              <a:gd name="connsiteX3" fmla="*/ 0 w 2482084"/>
              <a:gd name="connsiteY3" fmla="*/ 818598 h 820841"/>
              <a:gd name="connsiteX4" fmla="*/ 0 w 2482084"/>
              <a:gd name="connsiteY4" fmla="*/ 425 h 820841"/>
              <a:gd name="connsiteX0" fmla="*/ 2482084 w 2482084"/>
              <a:gd name="connsiteY0" fmla="*/ 0 h 820841"/>
              <a:gd name="connsiteX1" fmla="*/ 2479842 w 2482084"/>
              <a:gd name="connsiteY1" fmla="*/ 820841 h 820841"/>
              <a:gd name="connsiteX0" fmla="*/ 0 w 2482084"/>
              <a:gd name="connsiteY0" fmla="*/ 425 h 820841"/>
              <a:gd name="connsiteX1" fmla="*/ 2481943 w 2482084"/>
              <a:gd name="connsiteY1" fmla="*/ 425 h 820841"/>
              <a:gd name="connsiteX2" fmla="*/ 2481943 w 2482084"/>
              <a:gd name="connsiteY2" fmla="*/ 818598 h 820841"/>
              <a:gd name="connsiteX3" fmla="*/ 0 w 2482084"/>
              <a:gd name="connsiteY3" fmla="*/ 818598 h 820841"/>
              <a:gd name="connsiteX4" fmla="*/ 0 w 2482084"/>
              <a:gd name="connsiteY4" fmla="*/ 425 h 820841"/>
              <a:gd name="connsiteX0" fmla="*/ 2482084 w 2482084"/>
              <a:gd name="connsiteY0" fmla="*/ 0 h 820841"/>
              <a:gd name="connsiteX1" fmla="*/ 2479842 w 2482084"/>
              <a:gd name="connsiteY1" fmla="*/ 820841 h 820841"/>
              <a:gd name="connsiteX0" fmla="*/ 0 w 2482084"/>
              <a:gd name="connsiteY0" fmla="*/ 425 h 820841"/>
              <a:gd name="connsiteX1" fmla="*/ 2481943 w 2482084"/>
              <a:gd name="connsiteY1" fmla="*/ 425 h 820841"/>
              <a:gd name="connsiteX2" fmla="*/ 2481943 w 2482084"/>
              <a:gd name="connsiteY2" fmla="*/ 818598 h 820841"/>
              <a:gd name="connsiteX3" fmla="*/ 0 w 2482084"/>
              <a:gd name="connsiteY3" fmla="*/ 818598 h 820841"/>
              <a:gd name="connsiteX4" fmla="*/ 0 w 2482084"/>
              <a:gd name="connsiteY4" fmla="*/ 425 h 820841"/>
              <a:gd name="connsiteX0" fmla="*/ 2482084 w 2482084"/>
              <a:gd name="connsiteY0" fmla="*/ 0 h 820841"/>
              <a:gd name="connsiteX1" fmla="*/ 2479842 w 2482084"/>
              <a:gd name="connsiteY1" fmla="*/ 820841 h 820841"/>
              <a:gd name="connsiteX0" fmla="*/ 0 w 2481943"/>
              <a:gd name="connsiteY0" fmla="*/ 425 h 820841"/>
              <a:gd name="connsiteX1" fmla="*/ 2481943 w 2481943"/>
              <a:gd name="connsiteY1" fmla="*/ 425 h 820841"/>
              <a:gd name="connsiteX2" fmla="*/ 2481943 w 2481943"/>
              <a:gd name="connsiteY2" fmla="*/ 818598 h 820841"/>
              <a:gd name="connsiteX3" fmla="*/ 0 w 2481943"/>
              <a:gd name="connsiteY3" fmla="*/ 818598 h 820841"/>
              <a:gd name="connsiteX4" fmla="*/ 0 w 2481943"/>
              <a:gd name="connsiteY4" fmla="*/ 425 h 820841"/>
              <a:gd name="connsiteX0" fmla="*/ 2480494 w 2481943"/>
              <a:gd name="connsiteY0" fmla="*/ 0 h 820841"/>
              <a:gd name="connsiteX1" fmla="*/ 2479842 w 2481943"/>
              <a:gd name="connsiteY1" fmla="*/ 820841 h 820841"/>
            </a:gdLst>
            <a:ahLst/>
            <a:cxnLst>
              <a:cxn ang="0">
                <a:pos x="connsiteX0" y="connsiteY0"/>
              </a:cxn>
              <a:cxn ang="0">
                <a:pos x="connsiteX1" y="connsiteY1"/>
              </a:cxn>
            </a:cxnLst>
            <a:rect l="l" t="t" r="r" b="b"/>
            <a:pathLst>
              <a:path w="2481943" h="820841" stroke="0" extrusionOk="0">
                <a:moveTo>
                  <a:pt x="0" y="425"/>
                </a:moveTo>
                <a:lnTo>
                  <a:pt x="2481943" y="425"/>
                </a:lnTo>
                <a:lnTo>
                  <a:pt x="2481943" y="818598"/>
                </a:lnTo>
                <a:lnTo>
                  <a:pt x="0" y="818598"/>
                </a:lnTo>
                <a:lnTo>
                  <a:pt x="0" y="425"/>
                </a:lnTo>
                <a:close/>
              </a:path>
              <a:path w="2481943" h="820841" fill="none" extrusionOk="0">
                <a:moveTo>
                  <a:pt x="2480494" y="0"/>
                </a:moveTo>
                <a:cubicBezTo>
                  <a:pt x="2480453" y="277856"/>
                  <a:pt x="2479883" y="547953"/>
                  <a:pt x="2479842" y="820841"/>
                </a:cubicBezTo>
              </a:path>
            </a:pathLst>
          </a:custGeom>
          <a:solidFill>
            <a:schemeClr val="bg1"/>
          </a:solidFill>
          <a:ln w="38100">
            <a:solidFill>
              <a:schemeClr val="accent6"/>
            </a:solidFill>
            <a:miter lim="800000"/>
          </a:ln>
          <a:effectLst>
            <a:outerShdw blurRad="50800" dist="38100" dir="8100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95943" rIns="365760" bIns="195943"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500" b="1" i="0" u="none" strike="noStrike" kern="1200" cap="none" spc="0" normalizeH="0" baseline="0" noProof="0">
                <a:ln>
                  <a:noFill/>
                </a:ln>
                <a:solidFill>
                  <a:srgbClr val="222A30"/>
                </a:solidFill>
                <a:effectLst/>
                <a:uLnTx/>
                <a:uFillTx/>
                <a:latin typeface="Arial" panose="020B0604020202020204"/>
                <a:ea typeface="+mn-ea"/>
                <a:cs typeface="+mn-cs"/>
              </a:rPr>
              <a:t>Across the U.S.:</a:t>
            </a:r>
          </a:p>
          <a:p>
            <a:pPr marL="285750" marR="0" lvl="0" indent="-285750" algn="l" defTabSz="914400" rtl="0" eaLnBrk="1" fontAlgn="auto" latinLnBrk="0" hangingPunct="1">
              <a:lnSpc>
                <a:spcPct val="100000"/>
              </a:lnSpc>
              <a:spcBef>
                <a:spcPts val="600"/>
              </a:spcBef>
              <a:spcAft>
                <a:spcPts val="0"/>
              </a:spcAft>
              <a:buClr>
                <a:srgbClr val="CE0E2D"/>
              </a:buClr>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42 million lack broadband connection</a:t>
            </a:r>
          </a:p>
          <a:p>
            <a:pPr marL="285750" marR="0" lvl="0" indent="-285750" algn="l" defTabSz="914400" rtl="0" eaLnBrk="1" fontAlgn="auto" latinLnBrk="0" hangingPunct="1">
              <a:lnSpc>
                <a:spcPct val="100000"/>
              </a:lnSpc>
              <a:spcBef>
                <a:spcPts val="600"/>
              </a:spcBef>
              <a:spcAft>
                <a:spcPts val="0"/>
              </a:spcAft>
              <a:buClr>
                <a:srgbClr val="CE0E2D"/>
              </a:buClr>
              <a:buSzTx/>
              <a:buFont typeface="Arial" panose="020B0604020202020204" pitchFamily="34" charset="0"/>
              <a:buChar char="•"/>
              <a:tabLst/>
              <a:defRPr/>
            </a:pPr>
            <a:r>
              <a:rPr kumimoji="0" lang="en-US" sz="1400" b="0" i="0" u="none" strike="noStrike" kern="1200" cap="none" spc="0" normalizeH="0" baseline="0" noProof="0">
                <a:ln>
                  <a:noFill/>
                </a:ln>
                <a:solidFill>
                  <a:srgbClr val="222A30"/>
                </a:solidFill>
                <a:effectLst/>
                <a:uLnTx/>
                <a:uFillTx/>
                <a:latin typeface="Arial" panose="020B0604020202020204"/>
                <a:ea typeface="+mn-ea"/>
                <a:cs typeface="+mn-cs"/>
              </a:rPr>
              <a:t>Digital redlining in cities systematically expands broadband to wealthy areas only</a:t>
            </a:r>
          </a:p>
        </p:txBody>
      </p:sp>
      <p:grpSp>
        <p:nvGrpSpPr>
          <p:cNvPr id="11" name="Group 197">
            <a:extLst>
              <a:ext uri="{FF2B5EF4-FFF2-40B4-BE49-F238E27FC236}">
                <a16:creationId xmlns:a16="http://schemas.microsoft.com/office/drawing/2014/main" id="{2FE0E901-137F-40B3-A254-5F671827675F}"/>
              </a:ext>
            </a:extLst>
          </p:cNvPr>
          <p:cNvGrpSpPr>
            <a:grpSpLocks noChangeAspect="1"/>
          </p:cNvGrpSpPr>
          <p:nvPr/>
        </p:nvGrpSpPr>
        <p:grpSpPr bwMode="gray">
          <a:xfrm>
            <a:off x="4263132" y="2764396"/>
            <a:ext cx="5060580" cy="3186543"/>
            <a:chOff x="570714" y="1144588"/>
            <a:chExt cx="5049810" cy="3179762"/>
          </a:xfrm>
          <a:solidFill>
            <a:schemeClr val="accent1">
              <a:lumMod val="75000"/>
            </a:schemeClr>
          </a:solidFill>
        </p:grpSpPr>
        <p:sp>
          <p:nvSpPr>
            <p:cNvPr id="13" name="Freeform 20">
              <a:extLst>
                <a:ext uri="{FF2B5EF4-FFF2-40B4-BE49-F238E27FC236}">
                  <a16:creationId xmlns:a16="http://schemas.microsoft.com/office/drawing/2014/main" id="{CF3ACB16-2A54-4399-815B-2B0A3E2C7AD9}"/>
                </a:ext>
              </a:extLst>
            </p:cNvPr>
            <p:cNvSpPr>
              <a:spLocks/>
            </p:cNvSpPr>
            <p:nvPr/>
          </p:nvSpPr>
          <p:spPr bwMode="gray">
            <a:xfrm>
              <a:off x="3917114" y="3120855"/>
              <a:ext cx="367383" cy="599311"/>
            </a:xfrm>
            <a:custGeom>
              <a:avLst/>
              <a:gdLst>
                <a:gd name="T0" fmla="*/ 0 w 755"/>
                <a:gd name="T1" fmla="*/ 43 h 1230"/>
                <a:gd name="T2" fmla="*/ 19 w 755"/>
                <a:gd name="T3" fmla="*/ 66 h 1230"/>
                <a:gd name="T4" fmla="*/ 0 w 755"/>
                <a:gd name="T5" fmla="*/ 826 h 1230"/>
                <a:gd name="T6" fmla="*/ 46 w 755"/>
                <a:gd name="T7" fmla="*/ 1193 h 1230"/>
                <a:gd name="T8" fmla="*/ 101 w 755"/>
                <a:gd name="T9" fmla="*/ 1206 h 1230"/>
                <a:gd name="T10" fmla="*/ 122 w 755"/>
                <a:gd name="T11" fmla="*/ 1090 h 1230"/>
                <a:gd name="T12" fmla="*/ 142 w 755"/>
                <a:gd name="T13" fmla="*/ 1121 h 1230"/>
                <a:gd name="T14" fmla="*/ 146 w 755"/>
                <a:gd name="T15" fmla="*/ 1177 h 1230"/>
                <a:gd name="T16" fmla="*/ 174 w 755"/>
                <a:gd name="T17" fmla="*/ 1205 h 1230"/>
                <a:gd name="T18" fmla="*/ 132 w 755"/>
                <a:gd name="T19" fmla="*/ 1230 h 1230"/>
                <a:gd name="T20" fmla="*/ 238 w 755"/>
                <a:gd name="T21" fmla="*/ 1202 h 1230"/>
                <a:gd name="T22" fmla="*/ 260 w 755"/>
                <a:gd name="T23" fmla="*/ 1167 h 1230"/>
                <a:gd name="T24" fmla="*/ 243 w 755"/>
                <a:gd name="T25" fmla="*/ 1148 h 1230"/>
                <a:gd name="T26" fmla="*/ 252 w 755"/>
                <a:gd name="T27" fmla="*/ 1119 h 1230"/>
                <a:gd name="T28" fmla="*/ 200 w 755"/>
                <a:gd name="T29" fmla="*/ 1069 h 1230"/>
                <a:gd name="T30" fmla="*/ 204 w 755"/>
                <a:gd name="T31" fmla="*/ 1030 h 1230"/>
                <a:gd name="T32" fmla="*/ 755 w 755"/>
                <a:gd name="T33" fmla="*/ 980 h 1230"/>
                <a:gd name="T34" fmla="*/ 708 w 755"/>
                <a:gd name="T35" fmla="*/ 785 h 1230"/>
                <a:gd name="T36" fmla="*/ 716 w 755"/>
                <a:gd name="T37" fmla="*/ 716 h 1230"/>
                <a:gd name="T38" fmla="*/ 739 w 755"/>
                <a:gd name="T39" fmla="*/ 670 h 1230"/>
                <a:gd name="T40" fmla="*/ 720 w 755"/>
                <a:gd name="T41" fmla="*/ 606 h 1230"/>
                <a:gd name="T42" fmla="*/ 667 w 755"/>
                <a:gd name="T43" fmla="*/ 518 h 1230"/>
                <a:gd name="T44" fmla="*/ 525 w 755"/>
                <a:gd name="T45" fmla="*/ 0 h 1230"/>
                <a:gd name="T46" fmla="*/ 0 w 755"/>
                <a:gd name="T47" fmla="*/ 43 h 12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55"/>
                <a:gd name="T73" fmla="*/ 0 h 1230"/>
                <a:gd name="T74" fmla="*/ 755 w 755"/>
                <a:gd name="T75" fmla="*/ 1230 h 12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55" h="1230">
                  <a:moveTo>
                    <a:pt x="0" y="43"/>
                  </a:moveTo>
                  <a:lnTo>
                    <a:pt x="19" y="66"/>
                  </a:lnTo>
                  <a:lnTo>
                    <a:pt x="0" y="826"/>
                  </a:lnTo>
                  <a:lnTo>
                    <a:pt x="46" y="1193"/>
                  </a:lnTo>
                  <a:lnTo>
                    <a:pt x="101" y="1206"/>
                  </a:lnTo>
                  <a:lnTo>
                    <a:pt x="122" y="1090"/>
                  </a:lnTo>
                  <a:lnTo>
                    <a:pt x="142" y="1121"/>
                  </a:lnTo>
                  <a:lnTo>
                    <a:pt x="146" y="1177"/>
                  </a:lnTo>
                  <a:lnTo>
                    <a:pt x="174" y="1205"/>
                  </a:lnTo>
                  <a:lnTo>
                    <a:pt x="132" y="1230"/>
                  </a:lnTo>
                  <a:lnTo>
                    <a:pt x="238" y="1202"/>
                  </a:lnTo>
                  <a:lnTo>
                    <a:pt x="260" y="1167"/>
                  </a:lnTo>
                  <a:lnTo>
                    <a:pt x="243" y="1148"/>
                  </a:lnTo>
                  <a:lnTo>
                    <a:pt x="252" y="1119"/>
                  </a:lnTo>
                  <a:lnTo>
                    <a:pt x="200" y="1069"/>
                  </a:lnTo>
                  <a:lnTo>
                    <a:pt x="204" y="1030"/>
                  </a:lnTo>
                  <a:lnTo>
                    <a:pt x="755" y="980"/>
                  </a:lnTo>
                  <a:lnTo>
                    <a:pt x="708" y="785"/>
                  </a:lnTo>
                  <a:lnTo>
                    <a:pt x="716" y="716"/>
                  </a:lnTo>
                  <a:lnTo>
                    <a:pt x="739" y="670"/>
                  </a:lnTo>
                  <a:lnTo>
                    <a:pt x="720" y="606"/>
                  </a:lnTo>
                  <a:lnTo>
                    <a:pt x="667" y="518"/>
                  </a:lnTo>
                  <a:lnTo>
                    <a:pt x="525" y="0"/>
                  </a:lnTo>
                  <a:lnTo>
                    <a:pt x="0" y="43"/>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nvGrpSpPr>
            <p:cNvPr id="14" name="Group 110">
              <a:extLst>
                <a:ext uri="{FF2B5EF4-FFF2-40B4-BE49-F238E27FC236}">
                  <a16:creationId xmlns:a16="http://schemas.microsoft.com/office/drawing/2014/main" id="{AD611966-9AC4-41EC-A4D8-7D32B4AB39F6}"/>
                </a:ext>
              </a:extLst>
            </p:cNvPr>
            <p:cNvGrpSpPr/>
            <p:nvPr/>
          </p:nvGrpSpPr>
          <p:grpSpPr bwMode="gray">
            <a:xfrm>
              <a:off x="753918" y="3464849"/>
              <a:ext cx="1112868" cy="802007"/>
              <a:chOff x="753918" y="3464849"/>
              <a:chExt cx="1112868" cy="802007"/>
            </a:xfrm>
            <a:grpFill/>
          </p:grpSpPr>
          <p:sp>
            <p:nvSpPr>
              <p:cNvPr id="87" name="Freeform 21">
                <a:extLst>
                  <a:ext uri="{FF2B5EF4-FFF2-40B4-BE49-F238E27FC236}">
                    <a16:creationId xmlns:a16="http://schemas.microsoft.com/office/drawing/2014/main" id="{1A38E2F1-6D87-4729-B0A0-806698D91C1D}"/>
                  </a:ext>
                </a:extLst>
              </p:cNvPr>
              <p:cNvSpPr>
                <a:spLocks/>
              </p:cNvSpPr>
              <p:nvPr/>
            </p:nvSpPr>
            <p:spPr bwMode="gray">
              <a:xfrm>
                <a:off x="753918" y="4243468"/>
                <a:ext cx="47750" cy="23388"/>
              </a:xfrm>
              <a:custGeom>
                <a:avLst/>
                <a:gdLst>
                  <a:gd name="T0" fmla="*/ 0 w 98"/>
                  <a:gd name="T1" fmla="*/ 48 h 48"/>
                  <a:gd name="T2" fmla="*/ 25 w 98"/>
                  <a:gd name="T3" fmla="*/ 22 h 48"/>
                  <a:gd name="T4" fmla="*/ 92 w 98"/>
                  <a:gd name="T5" fmla="*/ 0 h 48"/>
                  <a:gd name="T6" fmla="*/ 98 w 98"/>
                  <a:gd name="T7" fmla="*/ 9 h 48"/>
                  <a:gd name="T8" fmla="*/ 0 w 98"/>
                  <a:gd name="T9" fmla="*/ 48 h 48"/>
                  <a:gd name="T10" fmla="*/ 0 60000 65536"/>
                  <a:gd name="T11" fmla="*/ 0 60000 65536"/>
                  <a:gd name="T12" fmla="*/ 0 60000 65536"/>
                  <a:gd name="T13" fmla="*/ 0 60000 65536"/>
                  <a:gd name="T14" fmla="*/ 0 60000 65536"/>
                  <a:gd name="T15" fmla="*/ 0 w 98"/>
                  <a:gd name="T16" fmla="*/ 0 h 48"/>
                  <a:gd name="T17" fmla="*/ 98 w 98"/>
                  <a:gd name="T18" fmla="*/ 48 h 48"/>
                </a:gdLst>
                <a:ahLst/>
                <a:cxnLst>
                  <a:cxn ang="T10">
                    <a:pos x="T0" y="T1"/>
                  </a:cxn>
                  <a:cxn ang="T11">
                    <a:pos x="T2" y="T3"/>
                  </a:cxn>
                  <a:cxn ang="T12">
                    <a:pos x="T4" y="T5"/>
                  </a:cxn>
                  <a:cxn ang="T13">
                    <a:pos x="T6" y="T7"/>
                  </a:cxn>
                  <a:cxn ang="T14">
                    <a:pos x="T8" y="T9"/>
                  </a:cxn>
                </a:cxnLst>
                <a:rect l="T15" t="T16" r="T17" b="T18"/>
                <a:pathLst>
                  <a:path w="98" h="48">
                    <a:moveTo>
                      <a:pt x="0" y="48"/>
                    </a:moveTo>
                    <a:lnTo>
                      <a:pt x="25" y="22"/>
                    </a:lnTo>
                    <a:lnTo>
                      <a:pt x="92" y="0"/>
                    </a:lnTo>
                    <a:lnTo>
                      <a:pt x="98" y="9"/>
                    </a:lnTo>
                    <a:lnTo>
                      <a:pt x="0" y="4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8" name="Freeform 22">
                <a:extLst>
                  <a:ext uri="{FF2B5EF4-FFF2-40B4-BE49-F238E27FC236}">
                    <a16:creationId xmlns:a16="http://schemas.microsoft.com/office/drawing/2014/main" id="{BCDAA031-2B52-4164-8196-4F1AB3F2BA56}"/>
                  </a:ext>
                </a:extLst>
              </p:cNvPr>
              <p:cNvSpPr>
                <a:spLocks/>
              </p:cNvSpPr>
              <p:nvPr/>
            </p:nvSpPr>
            <p:spPr bwMode="gray">
              <a:xfrm>
                <a:off x="823106" y="4232748"/>
                <a:ext cx="28261" cy="19490"/>
              </a:xfrm>
              <a:custGeom>
                <a:avLst/>
                <a:gdLst>
                  <a:gd name="T0" fmla="*/ 0 w 59"/>
                  <a:gd name="T1" fmla="*/ 39 h 39"/>
                  <a:gd name="T2" fmla="*/ 13 w 59"/>
                  <a:gd name="T3" fmla="*/ 0 h 39"/>
                  <a:gd name="T4" fmla="*/ 59 w 59"/>
                  <a:gd name="T5" fmla="*/ 7 h 39"/>
                  <a:gd name="T6" fmla="*/ 52 w 59"/>
                  <a:gd name="T7" fmla="*/ 31 h 39"/>
                  <a:gd name="T8" fmla="*/ 0 w 59"/>
                  <a:gd name="T9" fmla="*/ 39 h 39"/>
                  <a:gd name="T10" fmla="*/ 0 60000 65536"/>
                  <a:gd name="T11" fmla="*/ 0 60000 65536"/>
                  <a:gd name="T12" fmla="*/ 0 60000 65536"/>
                  <a:gd name="T13" fmla="*/ 0 60000 65536"/>
                  <a:gd name="T14" fmla="*/ 0 60000 65536"/>
                  <a:gd name="T15" fmla="*/ 0 w 59"/>
                  <a:gd name="T16" fmla="*/ 0 h 39"/>
                  <a:gd name="T17" fmla="*/ 59 w 59"/>
                  <a:gd name="T18" fmla="*/ 39 h 39"/>
                </a:gdLst>
                <a:ahLst/>
                <a:cxnLst>
                  <a:cxn ang="T10">
                    <a:pos x="T0" y="T1"/>
                  </a:cxn>
                  <a:cxn ang="T11">
                    <a:pos x="T2" y="T3"/>
                  </a:cxn>
                  <a:cxn ang="T12">
                    <a:pos x="T4" y="T5"/>
                  </a:cxn>
                  <a:cxn ang="T13">
                    <a:pos x="T6" y="T7"/>
                  </a:cxn>
                  <a:cxn ang="T14">
                    <a:pos x="T8" y="T9"/>
                  </a:cxn>
                </a:cxnLst>
                <a:rect l="T15" t="T16" r="T17" b="T18"/>
                <a:pathLst>
                  <a:path w="59" h="39">
                    <a:moveTo>
                      <a:pt x="0" y="39"/>
                    </a:moveTo>
                    <a:lnTo>
                      <a:pt x="13" y="0"/>
                    </a:lnTo>
                    <a:lnTo>
                      <a:pt x="59" y="7"/>
                    </a:lnTo>
                    <a:lnTo>
                      <a:pt x="52" y="31"/>
                    </a:lnTo>
                    <a:lnTo>
                      <a:pt x="0" y="3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9" name="Freeform 23">
                <a:extLst>
                  <a:ext uri="{FF2B5EF4-FFF2-40B4-BE49-F238E27FC236}">
                    <a16:creationId xmlns:a16="http://schemas.microsoft.com/office/drawing/2014/main" id="{BB15F7B3-CF75-470C-B6B4-4C48EF24C83C}"/>
                  </a:ext>
                </a:extLst>
              </p:cNvPr>
              <p:cNvSpPr>
                <a:spLocks/>
              </p:cNvSpPr>
              <p:nvPr/>
            </p:nvSpPr>
            <p:spPr bwMode="gray">
              <a:xfrm>
                <a:off x="885474" y="4210335"/>
                <a:ext cx="51648" cy="21439"/>
              </a:xfrm>
              <a:custGeom>
                <a:avLst/>
                <a:gdLst>
                  <a:gd name="T0" fmla="*/ 0 w 107"/>
                  <a:gd name="T1" fmla="*/ 44 h 44"/>
                  <a:gd name="T2" fmla="*/ 25 w 107"/>
                  <a:gd name="T3" fmla="*/ 0 h 44"/>
                  <a:gd name="T4" fmla="*/ 90 w 107"/>
                  <a:gd name="T5" fmla="*/ 0 h 44"/>
                  <a:gd name="T6" fmla="*/ 107 w 107"/>
                  <a:gd name="T7" fmla="*/ 40 h 44"/>
                  <a:gd name="T8" fmla="*/ 36 w 107"/>
                  <a:gd name="T9" fmla="*/ 31 h 44"/>
                  <a:gd name="T10" fmla="*/ 0 w 107"/>
                  <a:gd name="T11" fmla="*/ 44 h 44"/>
                  <a:gd name="T12" fmla="*/ 0 60000 65536"/>
                  <a:gd name="T13" fmla="*/ 0 60000 65536"/>
                  <a:gd name="T14" fmla="*/ 0 60000 65536"/>
                  <a:gd name="T15" fmla="*/ 0 60000 65536"/>
                  <a:gd name="T16" fmla="*/ 0 60000 65536"/>
                  <a:gd name="T17" fmla="*/ 0 60000 65536"/>
                  <a:gd name="T18" fmla="*/ 0 w 107"/>
                  <a:gd name="T19" fmla="*/ 0 h 44"/>
                  <a:gd name="T20" fmla="*/ 107 w 107"/>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07" h="44">
                    <a:moveTo>
                      <a:pt x="0" y="44"/>
                    </a:moveTo>
                    <a:lnTo>
                      <a:pt x="25" y="0"/>
                    </a:lnTo>
                    <a:lnTo>
                      <a:pt x="90" y="0"/>
                    </a:lnTo>
                    <a:lnTo>
                      <a:pt x="107" y="40"/>
                    </a:lnTo>
                    <a:lnTo>
                      <a:pt x="36" y="31"/>
                    </a:lnTo>
                    <a:lnTo>
                      <a:pt x="0" y="4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0" name="Freeform 24">
                <a:extLst>
                  <a:ext uri="{FF2B5EF4-FFF2-40B4-BE49-F238E27FC236}">
                    <a16:creationId xmlns:a16="http://schemas.microsoft.com/office/drawing/2014/main" id="{BDD5EC0E-E753-4F50-8C9C-FF9ABA9F7156}"/>
                  </a:ext>
                </a:extLst>
              </p:cNvPr>
              <p:cNvSpPr>
                <a:spLocks/>
              </p:cNvSpPr>
              <p:nvPr/>
            </p:nvSpPr>
            <p:spPr bwMode="gray">
              <a:xfrm>
                <a:off x="934198" y="3464849"/>
                <a:ext cx="932588" cy="787388"/>
              </a:xfrm>
              <a:custGeom>
                <a:avLst/>
                <a:gdLst>
                  <a:gd name="T0" fmla="*/ 157 w 1915"/>
                  <a:gd name="T1" fmla="*/ 1476 h 1617"/>
                  <a:gd name="T2" fmla="*/ 364 w 1915"/>
                  <a:gd name="T3" fmla="*/ 1358 h 1617"/>
                  <a:gd name="T4" fmla="*/ 371 w 1915"/>
                  <a:gd name="T5" fmla="*/ 1215 h 1617"/>
                  <a:gd name="T6" fmla="*/ 295 w 1915"/>
                  <a:gd name="T7" fmla="*/ 1205 h 1617"/>
                  <a:gd name="T8" fmla="*/ 150 w 1915"/>
                  <a:gd name="T9" fmla="*/ 1198 h 1617"/>
                  <a:gd name="T10" fmla="*/ 213 w 1915"/>
                  <a:gd name="T11" fmla="*/ 1008 h 1617"/>
                  <a:gd name="T12" fmla="*/ 83 w 1915"/>
                  <a:gd name="T13" fmla="*/ 1006 h 1617"/>
                  <a:gd name="T14" fmla="*/ 95 w 1915"/>
                  <a:gd name="T15" fmla="*/ 941 h 1617"/>
                  <a:gd name="T16" fmla="*/ 43 w 1915"/>
                  <a:gd name="T17" fmla="*/ 870 h 1617"/>
                  <a:gd name="T18" fmla="*/ 229 w 1915"/>
                  <a:gd name="T19" fmla="*/ 755 h 1617"/>
                  <a:gd name="T20" fmla="*/ 335 w 1915"/>
                  <a:gd name="T21" fmla="*/ 645 h 1617"/>
                  <a:gd name="T22" fmla="*/ 182 w 1915"/>
                  <a:gd name="T23" fmla="*/ 604 h 1617"/>
                  <a:gd name="T24" fmla="*/ 271 w 1915"/>
                  <a:gd name="T25" fmla="*/ 408 h 1617"/>
                  <a:gd name="T26" fmla="*/ 400 w 1915"/>
                  <a:gd name="T27" fmla="*/ 462 h 1617"/>
                  <a:gd name="T28" fmla="*/ 424 w 1915"/>
                  <a:gd name="T29" fmla="*/ 468 h 1617"/>
                  <a:gd name="T30" fmla="*/ 322 w 1915"/>
                  <a:gd name="T31" fmla="*/ 365 h 1617"/>
                  <a:gd name="T32" fmla="*/ 289 w 1915"/>
                  <a:gd name="T33" fmla="*/ 157 h 1617"/>
                  <a:gd name="T34" fmla="*/ 544 w 1915"/>
                  <a:gd name="T35" fmla="*/ 51 h 1617"/>
                  <a:gd name="T36" fmla="*/ 675 w 1915"/>
                  <a:gd name="T37" fmla="*/ 0 h 1617"/>
                  <a:gd name="T38" fmla="*/ 759 w 1915"/>
                  <a:gd name="T39" fmla="*/ 79 h 1617"/>
                  <a:gd name="T40" fmla="*/ 945 w 1915"/>
                  <a:gd name="T41" fmla="*/ 137 h 1617"/>
                  <a:gd name="T42" fmla="*/ 1117 w 1915"/>
                  <a:gd name="T43" fmla="*/ 170 h 1617"/>
                  <a:gd name="T44" fmla="*/ 1368 w 1915"/>
                  <a:gd name="T45" fmla="*/ 1164 h 1617"/>
                  <a:gd name="T46" fmla="*/ 1525 w 1915"/>
                  <a:gd name="T47" fmla="*/ 1192 h 1617"/>
                  <a:gd name="T48" fmla="*/ 1605 w 1915"/>
                  <a:gd name="T49" fmla="*/ 1218 h 1617"/>
                  <a:gd name="T50" fmla="*/ 1838 w 1915"/>
                  <a:gd name="T51" fmla="*/ 1465 h 1617"/>
                  <a:gd name="T52" fmla="*/ 1890 w 1915"/>
                  <a:gd name="T53" fmla="*/ 1617 h 1617"/>
                  <a:gd name="T54" fmla="*/ 1859 w 1915"/>
                  <a:gd name="T55" fmla="*/ 1561 h 1617"/>
                  <a:gd name="T56" fmla="*/ 1798 w 1915"/>
                  <a:gd name="T57" fmla="*/ 1542 h 1617"/>
                  <a:gd name="T58" fmla="*/ 1780 w 1915"/>
                  <a:gd name="T59" fmla="*/ 1501 h 1617"/>
                  <a:gd name="T60" fmla="*/ 1758 w 1915"/>
                  <a:gd name="T61" fmla="*/ 1461 h 1617"/>
                  <a:gd name="T62" fmla="*/ 1689 w 1915"/>
                  <a:gd name="T63" fmla="*/ 1412 h 1617"/>
                  <a:gd name="T64" fmla="*/ 1654 w 1915"/>
                  <a:gd name="T65" fmla="*/ 1331 h 1617"/>
                  <a:gd name="T66" fmla="*/ 1627 w 1915"/>
                  <a:gd name="T67" fmla="*/ 1309 h 1617"/>
                  <a:gd name="T68" fmla="*/ 1570 w 1915"/>
                  <a:gd name="T69" fmla="*/ 1218 h 1617"/>
                  <a:gd name="T70" fmla="*/ 1666 w 1915"/>
                  <a:gd name="T71" fmla="*/ 1354 h 1617"/>
                  <a:gd name="T72" fmla="*/ 1668 w 1915"/>
                  <a:gd name="T73" fmla="*/ 1409 h 1617"/>
                  <a:gd name="T74" fmla="*/ 1642 w 1915"/>
                  <a:gd name="T75" fmla="*/ 1437 h 1617"/>
                  <a:gd name="T76" fmla="*/ 1582 w 1915"/>
                  <a:gd name="T77" fmla="*/ 1314 h 1617"/>
                  <a:gd name="T78" fmla="*/ 1532 w 1915"/>
                  <a:gd name="T79" fmla="*/ 1268 h 1617"/>
                  <a:gd name="T80" fmla="*/ 1516 w 1915"/>
                  <a:gd name="T81" fmla="*/ 1319 h 1617"/>
                  <a:gd name="T82" fmla="*/ 1349 w 1915"/>
                  <a:gd name="T83" fmla="*/ 1182 h 1617"/>
                  <a:gd name="T84" fmla="*/ 1282 w 1915"/>
                  <a:gd name="T85" fmla="*/ 1198 h 1617"/>
                  <a:gd name="T86" fmla="*/ 1048 w 1915"/>
                  <a:gd name="T87" fmla="*/ 1150 h 1617"/>
                  <a:gd name="T88" fmla="*/ 997 w 1915"/>
                  <a:gd name="T89" fmla="*/ 1106 h 1617"/>
                  <a:gd name="T90" fmla="*/ 920 w 1915"/>
                  <a:gd name="T91" fmla="*/ 1081 h 1617"/>
                  <a:gd name="T92" fmla="*/ 913 w 1915"/>
                  <a:gd name="T93" fmla="*/ 1097 h 1617"/>
                  <a:gd name="T94" fmla="*/ 972 w 1915"/>
                  <a:gd name="T95" fmla="*/ 1195 h 1617"/>
                  <a:gd name="T96" fmla="*/ 863 w 1915"/>
                  <a:gd name="T97" fmla="*/ 1169 h 1617"/>
                  <a:gd name="T98" fmla="*/ 835 w 1915"/>
                  <a:gd name="T99" fmla="*/ 1202 h 1617"/>
                  <a:gd name="T100" fmla="*/ 742 w 1915"/>
                  <a:gd name="T101" fmla="*/ 1237 h 1617"/>
                  <a:gd name="T102" fmla="*/ 756 w 1915"/>
                  <a:gd name="T103" fmla="*/ 1198 h 1617"/>
                  <a:gd name="T104" fmla="*/ 862 w 1915"/>
                  <a:gd name="T105" fmla="*/ 1021 h 1617"/>
                  <a:gd name="T106" fmla="*/ 686 w 1915"/>
                  <a:gd name="T107" fmla="*/ 1131 h 1617"/>
                  <a:gd name="T108" fmla="*/ 614 w 1915"/>
                  <a:gd name="T109" fmla="*/ 1279 h 1617"/>
                  <a:gd name="T110" fmla="*/ 218 w 1915"/>
                  <a:gd name="T111" fmla="*/ 1505 h 1617"/>
                  <a:gd name="T112" fmla="*/ 50 w 1915"/>
                  <a:gd name="T113" fmla="*/ 1552 h 16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5"/>
                  <a:gd name="T172" fmla="*/ 0 h 1617"/>
                  <a:gd name="T173" fmla="*/ 1915 w 1915"/>
                  <a:gd name="T174" fmla="*/ 1617 h 16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5" h="1617">
                    <a:moveTo>
                      <a:pt x="0" y="1544"/>
                    </a:moveTo>
                    <a:lnTo>
                      <a:pt x="16" y="1521"/>
                    </a:lnTo>
                    <a:lnTo>
                      <a:pt x="30" y="1523"/>
                    </a:lnTo>
                    <a:lnTo>
                      <a:pt x="109" y="1466"/>
                    </a:lnTo>
                    <a:lnTo>
                      <a:pt x="157" y="1476"/>
                    </a:lnTo>
                    <a:lnTo>
                      <a:pt x="170" y="1498"/>
                    </a:lnTo>
                    <a:lnTo>
                      <a:pt x="173" y="1475"/>
                    </a:lnTo>
                    <a:lnTo>
                      <a:pt x="221" y="1442"/>
                    </a:lnTo>
                    <a:lnTo>
                      <a:pt x="296" y="1413"/>
                    </a:lnTo>
                    <a:lnTo>
                      <a:pt x="364" y="1358"/>
                    </a:lnTo>
                    <a:lnTo>
                      <a:pt x="380" y="1364"/>
                    </a:lnTo>
                    <a:lnTo>
                      <a:pt x="392" y="1293"/>
                    </a:lnTo>
                    <a:lnTo>
                      <a:pt x="431" y="1237"/>
                    </a:lnTo>
                    <a:lnTo>
                      <a:pt x="362" y="1243"/>
                    </a:lnTo>
                    <a:lnTo>
                      <a:pt x="371" y="1215"/>
                    </a:lnTo>
                    <a:lnTo>
                      <a:pt x="394" y="1217"/>
                    </a:lnTo>
                    <a:lnTo>
                      <a:pt x="372" y="1203"/>
                    </a:lnTo>
                    <a:lnTo>
                      <a:pt x="338" y="1236"/>
                    </a:lnTo>
                    <a:lnTo>
                      <a:pt x="335" y="1260"/>
                    </a:lnTo>
                    <a:lnTo>
                      <a:pt x="295" y="1205"/>
                    </a:lnTo>
                    <a:lnTo>
                      <a:pt x="282" y="1215"/>
                    </a:lnTo>
                    <a:lnTo>
                      <a:pt x="260" y="1188"/>
                    </a:lnTo>
                    <a:lnTo>
                      <a:pt x="208" y="1208"/>
                    </a:lnTo>
                    <a:lnTo>
                      <a:pt x="195" y="1212"/>
                    </a:lnTo>
                    <a:lnTo>
                      <a:pt x="150" y="1198"/>
                    </a:lnTo>
                    <a:lnTo>
                      <a:pt x="196" y="1160"/>
                    </a:lnTo>
                    <a:lnTo>
                      <a:pt x="183" y="1152"/>
                    </a:lnTo>
                    <a:lnTo>
                      <a:pt x="198" y="1125"/>
                    </a:lnTo>
                    <a:lnTo>
                      <a:pt x="190" y="1046"/>
                    </a:lnTo>
                    <a:lnTo>
                      <a:pt x="213" y="1008"/>
                    </a:lnTo>
                    <a:lnTo>
                      <a:pt x="174" y="1036"/>
                    </a:lnTo>
                    <a:lnTo>
                      <a:pt x="177" y="1060"/>
                    </a:lnTo>
                    <a:lnTo>
                      <a:pt x="143" y="1081"/>
                    </a:lnTo>
                    <a:lnTo>
                      <a:pt x="98" y="1066"/>
                    </a:lnTo>
                    <a:lnTo>
                      <a:pt x="83" y="1006"/>
                    </a:lnTo>
                    <a:lnTo>
                      <a:pt x="53" y="976"/>
                    </a:lnTo>
                    <a:lnTo>
                      <a:pt x="54" y="961"/>
                    </a:lnTo>
                    <a:lnTo>
                      <a:pt x="72" y="961"/>
                    </a:lnTo>
                    <a:lnTo>
                      <a:pt x="81" y="947"/>
                    </a:lnTo>
                    <a:lnTo>
                      <a:pt x="95" y="941"/>
                    </a:lnTo>
                    <a:lnTo>
                      <a:pt x="81" y="938"/>
                    </a:lnTo>
                    <a:lnTo>
                      <a:pt x="93" y="928"/>
                    </a:lnTo>
                    <a:lnTo>
                      <a:pt x="75" y="908"/>
                    </a:lnTo>
                    <a:lnTo>
                      <a:pt x="68" y="918"/>
                    </a:lnTo>
                    <a:lnTo>
                      <a:pt x="43" y="870"/>
                    </a:lnTo>
                    <a:lnTo>
                      <a:pt x="59" y="836"/>
                    </a:lnTo>
                    <a:lnTo>
                      <a:pt x="146" y="777"/>
                    </a:lnTo>
                    <a:lnTo>
                      <a:pt x="169" y="735"/>
                    </a:lnTo>
                    <a:lnTo>
                      <a:pt x="187" y="728"/>
                    </a:lnTo>
                    <a:lnTo>
                      <a:pt x="229" y="755"/>
                    </a:lnTo>
                    <a:lnTo>
                      <a:pt x="261" y="746"/>
                    </a:lnTo>
                    <a:lnTo>
                      <a:pt x="275" y="726"/>
                    </a:lnTo>
                    <a:lnTo>
                      <a:pt x="339" y="735"/>
                    </a:lnTo>
                    <a:lnTo>
                      <a:pt x="353" y="670"/>
                    </a:lnTo>
                    <a:lnTo>
                      <a:pt x="335" y="645"/>
                    </a:lnTo>
                    <a:lnTo>
                      <a:pt x="377" y="622"/>
                    </a:lnTo>
                    <a:lnTo>
                      <a:pt x="338" y="608"/>
                    </a:lnTo>
                    <a:lnTo>
                      <a:pt x="283" y="643"/>
                    </a:lnTo>
                    <a:lnTo>
                      <a:pt x="278" y="609"/>
                    </a:lnTo>
                    <a:lnTo>
                      <a:pt x="182" y="604"/>
                    </a:lnTo>
                    <a:lnTo>
                      <a:pt x="139" y="566"/>
                    </a:lnTo>
                    <a:lnTo>
                      <a:pt x="132" y="501"/>
                    </a:lnTo>
                    <a:lnTo>
                      <a:pt x="164" y="513"/>
                    </a:lnTo>
                    <a:lnTo>
                      <a:pt x="96" y="446"/>
                    </a:lnTo>
                    <a:lnTo>
                      <a:pt x="271" y="408"/>
                    </a:lnTo>
                    <a:lnTo>
                      <a:pt x="297" y="416"/>
                    </a:lnTo>
                    <a:lnTo>
                      <a:pt x="275" y="447"/>
                    </a:lnTo>
                    <a:lnTo>
                      <a:pt x="365" y="489"/>
                    </a:lnTo>
                    <a:lnTo>
                      <a:pt x="406" y="476"/>
                    </a:lnTo>
                    <a:lnTo>
                      <a:pt x="400" y="462"/>
                    </a:lnTo>
                    <a:lnTo>
                      <a:pt x="369" y="454"/>
                    </a:lnTo>
                    <a:lnTo>
                      <a:pt x="351" y="393"/>
                    </a:lnTo>
                    <a:lnTo>
                      <a:pt x="375" y="414"/>
                    </a:lnTo>
                    <a:lnTo>
                      <a:pt x="384" y="447"/>
                    </a:lnTo>
                    <a:lnTo>
                      <a:pt x="424" y="468"/>
                    </a:lnTo>
                    <a:lnTo>
                      <a:pt x="463" y="466"/>
                    </a:lnTo>
                    <a:lnTo>
                      <a:pt x="453" y="445"/>
                    </a:lnTo>
                    <a:lnTo>
                      <a:pt x="387" y="428"/>
                    </a:lnTo>
                    <a:lnTo>
                      <a:pt x="399" y="393"/>
                    </a:lnTo>
                    <a:lnTo>
                      <a:pt x="322" y="365"/>
                    </a:lnTo>
                    <a:lnTo>
                      <a:pt x="320" y="313"/>
                    </a:lnTo>
                    <a:lnTo>
                      <a:pt x="297" y="277"/>
                    </a:lnTo>
                    <a:lnTo>
                      <a:pt x="242" y="211"/>
                    </a:lnTo>
                    <a:lnTo>
                      <a:pt x="262" y="208"/>
                    </a:lnTo>
                    <a:lnTo>
                      <a:pt x="289" y="157"/>
                    </a:lnTo>
                    <a:lnTo>
                      <a:pt x="354" y="181"/>
                    </a:lnTo>
                    <a:lnTo>
                      <a:pt x="403" y="156"/>
                    </a:lnTo>
                    <a:lnTo>
                      <a:pt x="477" y="69"/>
                    </a:lnTo>
                    <a:lnTo>
                      <a:pt x="498" y="82"/>
                    </a:lnTo>
                    <a:lnTo>
                      <a:pt x="544" y="51"/>
                    </a:lnTo>
                    <a:lnTo>
                      <a:pt x="545" y="77"/>
                    </a:lnTo>
                    <a:lnTo>
                      <a:pt x="570" y="71"/>
                    </a:lnTo>
                    <a:lnTo>
                      <a:pt x="557" y="56"/>
                    </a:lnTo>
                    <a:lnTo>
                      <a:pt x="626" y="46"/>
                    </a:lnTo>
                    <a:lnTo>
                      <a:pt x="675" y="0"/>
                    </a:lnTo>
                    <a:lnTo>
                      <a:pt x="707" y="32"/>
                    </a:lnTo>
                    <a:lnTo>
                      <a:pt x="696" y="69"/>
                    </a:lnTo>
                    <a:lnTo>
                      <a:pt x="718" y="71"/>
                    </a:lnTo>
                    <a:lnTo>
                      <a:pt x="727" y="37"/>
                    </a:lnTo>
                    <a:lnTo>
                      <a:pt x="759" y="79"/>
                    </a:lnTo>
                    <a:lnTo>
                      <a:pt x="813" y="79"/>
                    </a:lnTo>
                    <a:lnTo>
                      <a:pt x="821" y="118"/>
                    </a:lnTo>
                    <a:lnTo>
                      <a:pt x="921" y="129"/>
                    </a:lnTo>
                    <a:lnTo>
                      <a:pt x="920" y="149"/>
                    </a:lnTo>
                    <a:lnTo>
                      <a:pt x="945" y="137"/>
                    </a:lnTo>
                    <a:lnTo>
                      <a:pt x="970" y="167"/>
                    </a:lnTo>
                    <a:lnTo>
                      <a:pt x="1022" y="157"/>
                    </a:lnTo>
                    <a:lnTo>
                      <a:pt x="1070" y="181"/>
                    </a:lnTo>
                    <a:lnTo>
                      <a:pt x="1117" y="159"/>
                    </a:lnTo>
                    <a:lnTo>
                      <a:pt x="1117" y="170"/>
                    </a:lnTo>
                    <a:lnTo>
                      <a:pt x="1135" y="166"/>
                    </a:lnTo>
                    <a:lnTo>
                      <a:pt x="1217" y="206"/>
                    </a:lnTo>
                    <a:lnTo>
                      <a:pt x="1278" y="1143"/>
                    </a:lnTo>
                    <a:lnTo>
                      <a:pt x="1370" y="1140"/>
                    </a:lnTo>
                    <a:lnTo>
                      <a:pt x="1368" y="1164"/>
                    </a:lnTo>
                    <a:lnTo>
                      <a:pt x="1399" y="1188"/>
                    </a:lnTo>
                    <a:lnTo>
                      <a:pt x="1455" y="1233"/>
                    </a:lnTo>
                    <a:lnTo>
                      <a:pt x="1465" y="1259"/>
                    </a:lnTo>
                    <a:lnTo>
                      <a:pt x="1512" y="1230"/>
                    </a:lnTo>
                    <a:lnTo>
                      <a:pt x="1525" y="1192"/>
                    </a:lnTo>
                    <a:lnTo>
                      <a:pt x="1551" y="1177"/>
                    </a:lnTo>
                    <a:lnTo>
                      <a:pt x="1557" y="1170"/>
                    </a:lnTo>
                    <a:lnTo>
                      <a:pt x="1588" y="1192"/>
                    </a:lnTo>
                    <a:lnTo>
                      <a:pt x="1585" y="1217"/>
                    </a:lnTo>
                    <a:lnTo>
                      <a:pt x="1605" y="1218"/>
                    </a:lnTo>
                    <a:lnTo>
                      <a:pt x="1617" y="1228"/>
                    </a:lnTo>
                    <a:lnTo>
                      <a:pt x="1627" y="1246"/>
                    </a:lnTo>
                    <a:lnTo>
                      <a:pt x="1657" y="1262"/>
                    </a:lnTo>
                    <a:lnTo>
                      <a:pt x="1796" y="1455"/>
                    </a:lnTo>
                    <a:lnTo>
                      <a:pt x="1838" y="1465"/>
                    </a:lnTo>
                    <a:lnTo>
                      <a:pt x="1908" y="1491"/>
                    </a:lnTo>
                    <a:lnTo>
                      <a:pt x="1915" y="1507"/>
                    </a:lnTo>
                    <a:lnTo>
                      <a:pt x="1900" y="1521"/>
                    </a:lnTo>
                    <a:lnTo>
                      <a:pt x="1903" y="1553"/>
                    </a:lnTo>
                    <a:lnTo>
                      <a:pt x="1890" y="1617"/>
                    </a:lnTo>
                    <a:lnTo>
                      <a:pt x="1882" y="1605"/>
                    </a:lnTo>
                    <a:lnTo>
                      <a:pt x="1869" y="1615"/>
                    </a:lnTo>
                    <a:lnTo>
                      <a:pt x="1854" y="1602"/>
                    </a:lnTo>
                    <a:lnTo>
                      <a:pt x="1876" y="1583"/>
                    </a:lnTo>
                    <a:lnTo>
                      <a:pt x="1859" y="1561"/>
                    </a:lnTo>
                    <a:lnTo>
                      <a:pt x="1859" y="1547"/>
                    </a:lnTo>
                    <a:lnTo>
                      <a:pt x="1838" y="1503"/>
                    </a:lnTo>
                    <a:lnTo>
                      <a:pt x="1825" y="1503"/>
                    </a:lnTo>
                    <a:lnTo>
                      <a:pt x="1802" y="1520"/>
                    </a:lnTo>
                    <a:lnTo>
                      <a:pt x="1798" y="1542"/>
                    </a:lnTo>
                    <a:lnTo>
                      <a:pt x="1777" y="1548"/>
                    </a:lnTo>
                    <a:lnTo>
                      <a:pt x="1774" y="1542"/>
                    </a:lnTo>
                    <a:lnTo>
                      <a:pt x="1790" y="1516"/>
                    </a:lnTo>
                    <a:lnTo>
                      <a:pt x="1794" y="1491"/>
                    </a:lnTo>
                    <a:lnTo>
                      <a:pt x="1780" y="1501"/>
                    </a:lnTo>
                    <a:lnTo>
                      <a:pt x="1776" y="1521"/>
                    </a:lnTo>
                    <a:lnTo>
                      <a:pt x="1727" y="1489"/>
                    </a:lnTo>
                    <a:lnTo>
                      <a:pt x="1729" y="1478"/>
                    </a:lnTo>
                    <a:lnTo>
                      <a:pt x="1754" y="1479"/>
                    </a:lnTo>
                    <a:lnTo>
                      <a:pt x="1758" y="1461"/>
                    </a:lnTo>
                    <a:lnTo>
                      <a:pt x="1774" y="1453"/>
                    </a:lnTo>
                    <a:lnTo>
                      <a:pt x="1772" y="1444"/>
                    </a:lnTo>
                    <a:lnTo>
                      <a:pt x="1747" y="1448"/>
                    </a:lnTo>
                    <a:lnTo>
                      <a:pt x="1739" y="1413"/>
                    </a:lnTo>
                    <a:lnTo>
                      <a:pt x="1689" y="1412"/>
                    </a:lnTo>
                    <a:lnTo>
                      <a:pt x="1676" y="1373"/>
                    </a:lnTo>
                    <a:lnTo>
                      <a:pt x="1689" y="1340"/>
                    </a:lnTo>
                    <a:lnTo>
                      <a:pt x="1672" y="1345"/>
                    </a:lnTo>
                    <a:lnTo>
                      <a:pt x="1664" y="1321"/>
                    </a:lnTo>
                    <a:lnTo>
                      <a:pt x="1654" y="1331"/>
                    </a:lnTo>
                    <a:lnTo>
                      <a:pt x="1646" y="1320"/>
                    </a:lnTo>
                    <a:lnTo>
                      <a:pt x="1657" y="1290"/>
                    </a:lnTo>
                    <a:lnTo>
                      <a:pt x="1647" y="1287"/>
                    </a:lnTo>
                    <a:lnTo>
                      <a:pt x="1643" y="1303"/>
                    </a:lnTo>
                    <a:lnTo>
                      <a:pt x="1627" y="1309"/>
                    </a:lnTo>
                    <a:lnTo>
                      <a:pt x="1607" y="1299"/>
                    </a:lnTo>
                    <a:lnTo>
                      <a:pt x="1604" y="1274"/>
                    </a:lnTo>
                    <a:lnTo>
                      <a:pt x="1579" y="1242"/>
                    </a:lnTo>
                    <a:lnTo>
                      <a:pt x="1581" y="1222"/>
                    </a:lnTo>
                    <a:lnTo>
                      <a:pt x="1570" y="1218"/>
                    </a:lnTo>
                    <a:lnTo>
                      <a:pt x="1568" y="1195"/>
                    </a:lnTo>
                    <a:lnTo>
                      <a:pt x="1564" y="1203"/>
                    </a:lnTo>
                    <a:lnTo>
                      <a:pt x="1575" y="1260"/>
                    </a:lnTo>
                    <a:lnTo>
                      <a:pt x="1596" y="1300"/>
                    </a:lnTo>
                    <a:lnTo>
                      <a:pt x="1666" y="1354"/>
                    </a:lnTo>
                    <a:lnTo>
                      <a:pt x="1667" y="1365"/>
                    </a:lnTo>
                    <a:lnTo>
                      <a:pt x="1649" y="1361"/>
                    </a:lnTo>
                    <a:lnTo>
                      <a:pt x="1648" y="1373"/>
                    </a:lnTo>
                    <a:lnTo>
                      <a:pt x="1657" y="1371"/>
                    </a:lnTo>
                    <a:lnTo>
                      <a:pt x="1668" y="1409"/>
                    </a:lnTo>
                    <a:lnTo>
                      <a:pt x="1712" y="1429"/>
                    </a:lnTo>
                    <a:lnTo>
                      <a:pt x="1734" y="1466"/>
                    </a:lnTo>
                    <a:lnTo>
                      <a:pt x="1682" y="1477"/>
                    </a:lnTo>
                    <a:lnTo>
                      <a:pt x="1657" y="1546"/>
                    </a:lnTo>
                    <a:lnTo>
                      <a:pt x="1642" y="1437"/>
                    </a:lnTo>
                    <a:lnTo>
                      <a:pt x="1633" y="1427"/>
                    </a:lnTo>
                    <a:lnTo>
                      <a:pt x="1631" y="1406"/>
                    </a:lnTo>
                    <a:lnTo>
                      <a:pt x="1640" y="1398"/>
                    </a:lnTo>
                    <a:lnTo>
                      <a:pt x="1597" y="1316"/>
                    </a:lnTo>
                    <a:lnTo>
                      <a:pt x="1582" y="1314"/>
                    </a:lnTo>
                    <a:lnTo>
                      <a:pt x="1572" y="1299"/>
                    </a:lnTo>
                    <a:lnTo>
                      <a:pt x="1558" y="1302"/>
                    </a:lnTo>
                    <a:lnTo>
                      <a:pt x="1549" y="1295"/>
                    </a:lnTo>
                    <a:lnTo>
                      <a:pt x="1539" y="1249"/>
                    </a:lnTo>
                    <a:lnTo>
                      <a:pt x="1532" y="1268"/>
                    </a:lnTo>
                    <a:lnTo>
                      <a:pt x="1497" y="1255"/>
                    </a:lnTo>
                    <a:lnTo>
                      <a:pt x="1490" y="1264"/>
                    </a:lnTo>
                    <a:lnTo>
                      <a:pt x="1534" y="1290"/>
                    </a:lnTo>
                    <a:lnTo>
                      <a:pt x="1513" y="1298"/>
                    </a:lnTo>
                    <a:lnTo>
                      <a:pt x="1516" y="1319"/>
                    </a:lnTo>
                    <a:lnTo>
                      <a:pt x="1479" y="1305"/>
                    </a:lnTo>
                    <a:lnTo>
                      <a:pt x="1433" y="1260"/>
                    </a:lnTo>
                    <a:lnTo>
                      <a:pt x="1364" y="1228"/>
                    </a:lnTo>
                    <a:lnTo>
                      <a:pt x="1316" y="1227"/>
                    </a:lnTo>
                    <a:lnTo>
                      <a:pt x="1349" y="1182"/>
                    </a:lnTo>
                    <a:lnTo>
                      <a:pt x="1366" y="1203"/>
                    </a:lnTo>
                    <a:lnTo>
                      <a:pt x="1368" y="1182"/>
                    </a:lnTo>
                    <a:lnTo>
                      <a:pt x="1340" y="1160"/>
                    </a:lnTo>
                    <a:lnTo>
                      <a:pt x="1322" y="1197"/>
                    </a:lnTo>
                    <a:lnTo>
                      <a:pt x="1282" y="1198"/>
                    </a:lnTo>
                    <a:lnTo>
                      <a:pt x="1107" y="1183"/>
                    </a:lnTo>
                    <a:lnTo>
                      <a:pt x="1113" y="1153"/>
                    </a:lnTo>
                    <a:lnTo>
                      <a:pt x="1096" y="1162"/>
                    </a:lnTo>
                    <a:lnTo>
                      <a:pt x="1074" y="1136"/>
                    </a:lnTo>
                    <a:lnTo>
                      <a:pt x="1048" y="1150"/>
                    </a:lnTo>
                    <a:lnTo>
                      <a:pt x="1037" y="1132"/>
                    </a:lnTo>
                    <a:lnTo>
                      <a:pt x="992" y="1152"/>
                    </a:lnTo>
                    <a:lnTo>
                      <a:pt x="990" y="1138"/>
                    </a:lnTo>
                    <a:lnTo>
                      <a:pt x="1011" y="1106"/>
                    </a:lnTo>
                    <a:lnTo>
                      <a:pt x="997" y="1106"/>
                    </a:lnTo>
                    <a:lnTo>
                      <a:pt x="1013" y="1096"/>
                    </a:lnTo>
                    <a:lnTo>
                      <a:pt x="961" y="1103"/>
                    </a:lnTo>
                    <a:lnTo>
                      <a:pt x="943" y="1084"/>
                    </a:lnTo>
                    <a:lnTo>
                      <a:pt x="925" y="1096"/>
                    </a:lnTo>
                    <a:lnTo>
                      <a:pt x="920" y="1081"/>
                    </a:lnTo>
                    <a:lnTo>
                      <a:pt x="932" y="1066"/>
                    </a:lnTo>
                    <a:lnTo>
                      <a:pt x="904" y="1075"/>
                    </a:lnTo>
                    <a:lnTo>
                      <a:pt x="908" y="1084"/>
                    </a:lnTo>
                    <a:lnTo>
                      <a:pt x="894" y="1099"/>
                    </a:lnTo>
                    <a:lnTo>
                      <a:pt x="913" y="1097"/>
                    </a:lnTo>
                    <a:lnTo>
                      <a:pt x="904" y="1124"/>
                    </a:lnTo>
                    <a:lnTo>
                      <a:pt x="925" y="1134"/>
                    </a:lnTo>
                    <a:lnTo>
                      <a:pt x="948" y="1147"/>
                    </a:lnTo>
                    <a:lnTo>
                      <a:pt x="978" y="1134"/>
                    </a:lnTo>
                    <a:lnTo>
                      <a:pt x="972" y="1195"/>
                    </a:lnTo>
                    <a:lnTo>
                      <a:pt x="922" y="1197"/>
                    </a:lnTo>
                    <a:lnTo>
                      <a:pt x="922" y="1181"/>
                    </a:lnTo>
                    <a:lnTo>
                      <a:pt x="904" y="1169"/>
                    </a:lnTo>
                    <a:lnTo>
                      <a:pt x="866" y="1185"/>
                    </a:lnTo>
                    <a:lnTo>
                      <a:pt x="863" y="1169"/>
                    </a:lnTo>
                    <a:lnTo>
                      <a:pt x="849" y="1183"/>
                    </a:lnTo>
                    <a:lnTo>
                      <a:pt x="847" y="1164"/>
                    </a:lnTo>
                    <a:lnTo>
                      <a:pt x="816" y="1160"/>
                    </a:lnTo>
                    <a:lnTo>
                      <a:pt x="839" y="1195"/>
                    </a:lnTo>
                    <a:lnTo>
                      <a:pt x="835" y="1202"/>
                    </a:lnTo>
                    <a:lnTo>
                      <a:pt x="822" y="1197"/>
                    </a:lnTo>
                    <a:lnTo>
                      <a:pt x="788" y="1217"/>
                    </a:lnTo>
                    <a:lnTo>
                      <a:pt x="781" y="1210"/>
                    </a:lnTo>
                    <a:lnTo>
                      <a:pt x="756" y="1255"/>
                    </a:lnTo>
                    <a:lnTo>
                      <a:pt x="742" y="1237"/>
                    </a:lnTo>
                    <a:lnTo>
                      <a:pt x="731" y="1248"/>
                    </a:lnTo>
                    <a:lnTo>
                      <a:pt x="707" y="1244"/>
                    </a:lnTo>
                    <a:lnTo>
                      <a:pt x="704" y="1221"/>
                    </a:lnTo>
                    <a:lnTo>
                      <a:pt x="736" y="1221"/>
                    </a:lnTo>
                    <a:lnTo>
                      <a:pt x="756" y="1198"/>
                    </a:lnTo>
                    <a:lnTo>
                      <a:pt x="703" y="1197"/>
                    </a:lnTo>
                    <a:lnTo>
                      <a:pt x="748" y="1091"/>
                    </a:lnTo>
                    <a:lnTo>
                      <a:pt x="823" y="1073"/>
                    </a:lnTo>
                    <a:lnTo>
                      <a:pt x="815" y="1049"/>
                    </a:lnTo>
                    <a:lnTo>
                      <a:pt x="862" y="1021"/>
                    </a:lnTo>
                    <a:lnTo>
                      <a:pt x="798" y="1039"/>
                    </a:lnTo>
                    <a:lnTo>
                      <a:pt x="809" y="984"/>
                    </a:lnTo>
                    <a:lnTo>
                      <a:pt x="777" y="1048"/>
                    </a:lnTo>
                    <a:lnTo>
                      <a:pt x="736" y="1067"/>
                    </a:lnTo>
                    <a:lnTo>
                      <a:pt x="686" y="1131"/>
                    </a:lnTo>
                    <a:lnTo>
                      <a:pt x="652" y="1131"/>
                    </a:lnTo>
                    <a:lnTo>
                      <a:pt x="671" y="1164"/>
                    </a:lnTo>
                    <a:lnTo>
                      <a:pt x="583" y="1234"/>
                    </a:lnTo>
                    <a:lnTo>
                      <a:pt x="622" y="1248"/>
                    </a:lnTo>
                    <a:lnTo>
                      <a:pt x="614" y="1279"/>
                    </a:lnTo>
                    <a:lnTo>
                      <a:pt x="419" y="1426"/>
                    </a:lnTo>
                    <a:lnTo>
                      <a:pt x="280" y="1465"/>
                    </a:lnTo>
                    <a:lnTo>
                      <a:pt x="320" y="1481"/>
                    </a:lnTo>
                    <a:lnTo>
                      <a:pt x="236" y="1527"/>
                    </a:lnTo>
                    <a:lnTo>
                      <a:pt x="218" y="1505"/>
                    </a:lnTo>
                    <a:lnTo>
                      <a:pt x="163" y="1527"/>
                    </a:lnTo>
                    <a:lnTo>
                      <a:pt x="118" y="1528"/>
                    </a:lnTo>
                    <a:lnTo>
                      <a:pt x="119" y="1502"/>
                    </a:lnTo>
                    <a:lnTo>
                      <a:pt x="65" y="1555"/>
                    </a:lnTo>
                    <a:lnTo>
                      <a:pt x="50" y="1552"/>
                    </a:lnTo>
                    <a:lnTo>
                      <a:pt x="49" y="1526"/>
                    </a:lnTo>
                    <a:lnTo>
                      <a:pt x="39" y="1552"/>
                    </a:lnTo>
                    <a:lnTo>
                      <a:pt x="0" y="154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1" name="Freeform 25">
                <a:extLst>
                  <a:ext uri="{FF2B5EF4-FFF2-40B4-BE49-F238E27FC236}">
                    <a16:creationId xmlns:a16="http://schemas.microsoft.com/office/drawing/2014/main" id="{E003D2DB-C738-4A26-8B5C-789BF47217C0}"/>
                  </a:ext>
                </a:extLst>
              </p:cNvPr>
              <p:cNvSpPr>
                <a:spLocks/>
              </p:cNvSpPr>
              <p:nvPr/>
            </p:nvSpPr>
            <p:spPr bwMode="gray">
              <a:xfrm>
                <a:off x="1182694" y="4104115"/>
                <a:ext cx="92576" cy="93551"/>
              </a:xfrm>
              <a:custGeom>
                <a:avLst/>
                <a:gdLst>
                  <a:gd name="T0" fmla="*/ 0 w 190"/>
                  <a:gd name="T1" fmla="*/ 190 h 190"/>
                  <a:gd name="T2" fmla="*/ 54 w 190"/>
                  <a:gd name="T3" fmla="*/ 139 h 190"/>
                  <a:gd name="T4" fmla="*/ 19 w 190"/>
                  <a:gd name="T5" fmla="*/ 74 h 190"/>
                  <a:gd name="T6" fmla="*/ 69 w 190"/>
                  <a:gd name="T7" fmla="*/ 96 h 190"/>
                  <a:gd name="T8" fmla="*/ 145 w 190"/>
                  <a:gd name="T9" fmla="*/ 0 h 190"/>
                  <a:gd name="T10" fmla="*/ 190 w 190"/>
                  <a:gd name="T11" fmla="*/ 11 h 190"/>
                  <a:gd name="T12" fmla="*/ 150 w 190"/>
                  <a:gd name="T13" fmla="*/ 104 h 190"/>
                  <a:gd name="T14" fmla="*/ 0 w 190"/>
                  <a:gd name="T15" fmla="*/ 190 h 190"/>
                  <a:gd name="T16" fmla="*/ 0 60000 65536"/>
                  <a:gd name="T17" fmla="*/ 0 60000 65536"/>
                  <a:gd name="T18" fmla="*/ 0 60000 65536"/>
                  <a:gd name="T19" fmla="*/ 0 60000 65536"/>
                  <a:gd name="T20" fmla="*/ 0 60000 65536"/>
                  <a:gd name="T21" fmla="*/ 0 60000 65536"/>
                  <a:gd name="T22" fmla="*/ 0 60000 65536"/>
                  <a:gd name="T23" fmla="*/ 0 60000 65536"/>
                  <a:gd name="T24" fmla="*/ 0 w 190"/>
                  <a:gd name="T25" fmla="*/ 0 h 190"/>
                  <a:gd name="T26" fmla="*/ 190 w 190"/>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0" h="190">
                    <a:moveTo>
                      <a:pt x="0" y="190"/>
                    </a:moveTo>
                    <a:lnTo>
                      <a:pt x="54" y="139"/>
                    </a:lnTo>
                    <a:lnTo>
                      <a:pt x="19" y="74"/>
                    </a:lnTo>
                    <a:lnTo>
                      <a:pt x="69" y="96"/>
                    </a:lnTo>
                    <a:lnTo>
                      <a:pt x="145" y="0"/>
                    </a:lnTo>
                    <a:lnTo>
                      <a:pt x="190" y="11"/>
                    </a:lnTo>
                    <a:lnTo>
                      <a:pt x="150" y="104"/>
                    </a:lnTo>
                    <a:lnTo>
                      <a:pt x="0" y="19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2" name="Freeform 26">
                <a:extLst>
                  <a:ext uri="{FF2B5EF4-FFF2-40B4-BE49-F238E27FC236}">
                    <a16:creationId xmlns:a16="http://schemas.microsoft.com/office/drawing/2014/main" id="{F811DCFA-D433-48B3-A10E-0432F3D8CD28}"/>
                  </a:ext>
                </a:extLst>
              </p:cNvPr>
              <p:cNvSpPr>
                <a:spLocks/>
              </p:cNvSpPr>
              <p:nvPr/>
            </p:nvSpPr>
            <p:spPr bwMode="gray">
              <a:xfrm>
                <a:off x="1674811" y="4100217"/>
                <a:ext cx="54571" cy="105245"/>
              </a:xfrm>
              <a:custGeom>
                <a:avLst/>
                <a:gdLst>
                  <a:gd name="T0" fmla="*/ 0 w 114"/>
                  <a:gd name="T1" fmla="*/ 58 h 217"/>
                  <a:gd name="T2" fmla="*/ 25 w 114"/>
                  <a:gd name="T3" fmla="*/ 0 h 217"/>
                  <a:gd name="T4" fmla="*/ 82 w 114"/>
                  <a:gd name="T5" fmla="*/ 56 h 217"/>
                  <a:gd name="T6" fmla="*/ 114 w 114"/>
                  <a:gd name="T7" fmla="*/ 217 h 217"/>
                  <a:gd name="T8" fmla="*/ 0 w 114"/>
                  <a:gd name="T9" fmla="*/ 58 h 217"/>
                  <a:gd name="T10" fmla="*/ 0 60000 65536"/>
                  <a:gd name="T11" fmla="*/ 0 60000 65536"/>
                  <a:gd name="T12" fmla="*/ 0 60000 65536"/>
                  <a:gd name="T13" fmla="*/ 0 60000 65536"/>
                  <a:gd name="T14" fmla="*/ 0 60000 65536"/>
                  <a:gd name="T15" fmla="*/ 0 w 114"/>
                  <a:gd name="T16" fmla="*/ 0 h 217"/>
                  <a:gd name="T17" fmla="*/ 114 w 114"/>
                  <a:gd name="T18" fmla="*/ 217 h 217"/>
                </a:gdLst>
                <a:ahLst/>
                <a:cxnLst>
                  <a:cxn ang="T10">
                    <a:pos x="T0" y="T1"/>
                  </a:cxn>
                  <a:cxn ang="T11">
                    <a:pos x="T2" y="T3"/>
                  </a:cxn>
                  <a:cxn ang="T12">
                    <a:pos x="T4" y="T5"/>
                  </a:cxn>
                  <a:cxn ang="T13">
                    <a:pos x="T6" y="T7"/>
                  </a:cxn>
                  <a:cxn ang="T14">
                    <a:pos x="T8" y="T9"/>
                  </a:cxn>
                </a:cxnLst>
                <a:rect l="T15" t="T16" r="T17" b="T18"/>
                <a:pathLst>
                  <a:path w="114" h="217">
                    <a:moveTo>
                      <a:pt x="0" y="58"/>
                    </a:moveTo>
                    <a:lnTo>
                      <a:pt x="25" y="0"/>
                    </a:lnTo>
                    <a:lnTo>
                      <a:pt x="82" y="56"/>
                    </a:lnTo>
                    <a:lnTo>
                      <a:pt x="114" y="217"/>
                    </a:lnTo>
                    <a:lnTo>
                      <a:pt x="0" y="5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3" name="Freeform 27">
                <a:extLst>
                  <a:ext uri="{FF2B5EF4-FFF2-40B4-BE49-F238E27FC236}">
                    <a16:creationId xmlns:a16="http://schemas.microsoft.com/office/drawing/2014/main" id="{95A95E8C-0E27-4177-B3AB-0150A225CA61}"/>
                  </a:ext>
                </a:extLst>
              </p:cNvPr>
              <p:cNvSpPr>
                <a:spLocks/>
              </p:cNvSpPr>
              <p:nvPr/>
            </p:nvSpPr>
            <p:spPr bwMode="gray">
              <a:xfrm>
                <a:off x="1757643" y="4205462"/>
                <a:ext cx="52622" cy="57495"/>
              </a:xfrm>
              <a:custGeom>
                <a:avLst/>
                <a:gdLst>
                  <a:gd name="T0" fmla="*/ 0 w 108"/>
                  <a:gd name="T1" fmla="*/ 0 h 117"/>
                  <a:gd name="T2" fmla="*/ 13 w 108"/>
                  <a:gd name="T3" fmla="*/ 79 h 117"/>
                  <a:gd name="T4" fmla="*/ 108 w 108"/>
                  <a:gd name="T5" fmla="*/ 117 h 117"/>
                  <a:gd name="T6" fmla="*/ 55 w 108"/>
                  <a:gd name="T7" fmla="*/ 1 h 117"/>
                  <a:gd name="T8" fmla="*/ 0 w 108"/>
                  <a:gd name="T9" fmla="*/ 0 h 117"/>
                  <a:gd name="T10" fmla="*/ 0 60000 65536"/>
                  <a:gd name="T11" fmla="*/ 0 60000 65536"/>
                  <a:gd name="T12" fmla="*/ 0 60000 65536"/>
                  <a:gd name="T13" fmla="*/ 0 60000 65536"/>
                  <a:gd name="T14" fmla="*/ 0 60000 65536"/>
                  <a:gd name="T15" fmla="*/ 0 w 108"/>
                  <a:gd name="T16" fmla="*/ 0 h 117"/>
                  <a:gd name="T17" fmla="*/ 108 w 108"/>
                  <a:gd name="T18" fmla="*/ 117 h 117"/>
                </a:gdLst>
                <a:ahLst/>
                <a:cxnLst>
                  <a:cxn ang="T10">
                    <a:pos x="T0" y="T1"/>
                  </a:cxn>
                  <a:cxn ang="T11">
                    <a:pos x="T2" y="T3"/>
                  </a:cxn>
                  <a:cxn ang="T12">
                    <a:pos x="T4" y="T5"/>
                  </a:cxn>
                  <a:cxn ang="T13">
                    <a:pos x="T6" y="T7"/>
                  </a:cxn>
                  <a:cxn ang="T14">
                    <a:pos x="T8" y="T9"/>
                  </a:cxn>
                </a:cxnLst>
                <a:rect l="T15" t="T16" r="T17" b="T18"/>
                <a:pathLst>
                  <a:path w="108" h="117">
                    <a:moveTo>
                      <a:pt x="0" y="0"/>
                    </a:moveTo>
                    <a:lnTo>
                      <a:pt x="13" y="79"/>
                    </a:lnTo>
                    <a:lnTo>
                      <a:pt x="108" y="117"/>
                    </a:lnTo>
                    <a:lnTo>
                      <a:pt x="55" y="1"/>
                    </a:lnTo>
                    <a:lnTo>
                      <a:pt x="0" y="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4" name="Freeform 28">
                <a:extLst>
                  <a:ext uri="{FF2B5EF4-FFF2-40B4-BE49-F238E27FC236}">
                    <a16:creationId xmlns:a16="http://schemas.microsoft.com/office/drawing/2014/main" id="{D02BA337-4021-4210-8C2E-37C255351DAE}"/>
                  </a:ext>
                </a:extLst>
              </p:cNvPr>
              <p:cNvSpPr>
                <a:spLocks/>
              </p:cNvSpPr>
              <p:nvPr/>
            </p:nvSpPr>
            <p:spPr bwMode="gray">
              <a:xfrm>
                <a:off x="1817087" y="4205462"/>
                <a:ext cx="16567" cy="31184"/>
              </a:xfrm>
              <a:custGeom>
                <a:avLst/>
                <a:gdLst>
                  <a:gd name="T0" fmla="*/ 0 w 34"/>
                  <a:gd name="T1" fmla="*/ 62 h 62"/>
                  <a:gd name="T2" fmla="*/ 7 w 34"/>
                  <a:gd name="T3" fmla="*/ 0 h 62"/>
                  <a:gd name="T4" fmla="*/ 34 w 34"/>
                  <a:gd name="T5" fmla="*/ 53 h 62"/>
                  <a:gd name="T6" fmla="*/ 0 w 34"/>
                  <a:gd name="T7" fmla="*/ 62 h 62"/>
                  <a:gd name="T8" fmla="*/ 0 60000 65536"/>
                  <a:gd name="T9" fmla="*/ 0 60000 65536"/>
                  <a:gd name="T10" fmla="*/ 0 60000 65536"/>
                  <a:gd name="T11" fmla="*/ 0 60000 65536"/>
                  <a:gd name="T12" fmla="*/ 0 w 34"/>
                  <a:gd name="T13" fmla="*/ 0 h 62"/>
                  <a:gd name="T14" fmla="*/ 34 w 34"/>
                  <a:gd name="T15" fmla="*/ 62 h 62"/>
                </a:gdLst>
                <a:ahLst/>
                <a:cxnLst>
                  <a:cxn ang="T8">
                    <a:pos x="T0" y="T1"/>
                  </a:cxn>
                  <a:cxn ang="T9">
                    <a:pos x="T2" y="T3"/>
                  </a:cxn>
                  <a:cxn ang="T10">
                    <a:pos x="T4" y="T5"/>
                  </a:cxn>
                  <a:cxn ang="T11">
                    <a:pos x="T6" y="T7"/>
                  </a:cxn>
                </a:cxnLst>
                <a:rect l="T12" t="T13" r="T14" b="T15"/>
                <a:pathLst>
                  <a:path w="34" h="62">
                    <a:moveTo>
                      <a:pt x="0" y="62"/>
                    </a:moveTo>
                    <a:lnTo>
                      <a:pt x="7" y="0"/>
                    </a:lnTo>
                    <a:lnTo>
                      <a:pt x="34" y="53"/>
                    </a:lnTo>
                    <a:lnTo>
                      <a:pt x="0" y="6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15" name="Freeform 29">
              <a:extLst>
                <a:ext uri="{FF2B5EF4-FFF2-40B4-BE49-F238E27FC236}">
                  <a16:creationId xmlns:a16="http://schemas.microsoft.com/office/drawing/2014/main" id="{2FB8B21F-19C6-4B1E-B5F3-F41F650342D2}"/>
                </a:ext>
              </a:extLst>
            </p:cNvPr>
            <p:cNvSpPr>
              <a:spLocks/>
            </p:cNvSpPr>
            <p:nvPr/>
          </p:nvSpPr>
          <p:spPr bwMode="gray">
            <a:xfrm>
              <a:off x="1227520" y="2749573"/>
              <a:ext cx="660705" cy="765949"/>
            </a:xfrm>
            <a:custGeom>
              <a:avLst/>
              <a:gdLst>
                <a:gd name="T0" fmla="*/ 0 w 1357"/>
                <a:gd name="T1" fmla="*/ 1074 h 1570"/>
                <a:gd name="T2" fmla="*/ 88 w 1357"/>
                <a:gd name="T3" fmla="*/ 999 h 1570"/>
                <a:gd name="T4" fmla="*/ 53 w 1357"/>
                <a:gd name="T5" fmla="*/ 939 h 1570"/>
                <a:gd name="T6" fmla="*/ 71 w 1357"/>
                <a:gd name="T7" fmla="*/ 853 h 1570"/>
                <a:gd name="T8" fmla="*/ 160 w 1357"/>
                <a:gd name="T9" fmla="*/ 705 h 1570"/>
                <a:gd name="T10" fmla="*/ 227 w 1357"/>
                <a:gd name="T11" fmla="*/ 663 h 1570"/>
                <a:gd name="T12" fmla="*/ 188 w 1357"/>
                <a:gd name="T13" fmla="*/ 611 h 1570"/>
                <a:gd name="T14" fmla="*/ 162 w 1357"/>
                <a:gd name="T15" fmla="*/ 464 h 1570"/>
                <a:gd name="T16" fmla="*/ 192 w 1357"/>
                <a:gd name="T17" fmla="*/ 203 h 1570"/>
                <a:gd name="T18" fmla="*/ 237 w 1357"/>
                <a:gd name="T19" fmla="*/ 188 h 1570"/>
                <a:gd name="T20" fmla="*/ 312 w 1357"/>
                <a:gd name="T21" fmla="*/ 233 h 1570"/>
                <a:gd name="T22" fmla="*/ 378 w 1357"/>
                <a:gd name="T23" fmla="*/ 0 h 1570"/>
                <a:gd name="T24" fmla="*/ 1357 w 1357"/>
                <a:gd name="T25" fmla="*/ 168 h 1570"/>
                <a:gd name="T26" fmla="*/ 1151 w 1357"/>
                <a:gd name="T27" fmla="*/ 1570 h 1570"/>
                <a:gd name="T28" fmla="*/ 852 w 1357"/>
                <a:gd name="T29" fmla="*/ 1525 h 1570"/>
                <a:gd name="T30" fmla="*/ 664 w 1357"/>
                <a:gd name="T31" fmla="*/ 1471 h 1570"/>
                <a:gd name="T32" fmla="*/ 281 w 1357"/>
                <a:gd name="T33" fmla="*/ 1246 h 1570"/>
                <a:gd name="T34" fmla="*/ 0 w 1357"/>
                <a:gd name="T35" fmla="*/ 1074 h 15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7"/>
                <a:gd name="T55" fmla="*/ 0 h 1570"/>
                <a:gd name="T56" fmla="*/ 1357 w 1357"/>
                <a:gd name="T57" fmla="*/ 1570 h 15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7" h="1570">
                  <a:moveTo>
                    <a:pt x="0" y="1074"/>
                  </a:moveTo>
                  <a:lnTo>
                    <a:pt x="88" y="999"/>
                  </a:lnTo>
                  <a:lnTo>
                    <a:pt x="53" y="939"/>
                  </a:lnTo>
                  <a:lnTo>
                    <a:pt x="71" y="853"/>
                  </a:lnTo>
                  <a:lnTo>
                    <a:pt x="160" y="705"/>
                  </a:lnTo>
                  <a:lnTo>
                    <a:pt x="227" y="663"/>
                  </a:lnTo>
                  <a:lnTo>
                    <a:pt x="188" y="611"/>
                  </a:lnTo>
                  <a:lnTo>
                    <a:pt x="162" y="464"/>
                  </a:lnTo>
                  <a:lnTo>
                    <a:pt x="192" y="203"/>
                  </a:lnTo>
                  <a:lnTo>
                    <a:pt x="237" y="188"/>
                  </a:lnTo>
                  <a:lnTo>
                    <a:pt x="312" y="233"/>
                  </a:lnTo>
                  <a:lnTo>
                    <a:pt x="378" y="0"/>
                  </a:lnTo>
                  <a:lnTo>
                    <a:pt x="1357" y="168"/>
                  </a:lnTo>
                  <a:lnTo>
                    <a:pt x="1151" y="1570"/>
                  </a:lnTo>
                  <a:lnTo>
                    <a:pt x="852" y="1525"/>
                  </a:lnTo>
                  <a:lnTo>
                    <a:pt x="664" y="1471"/>
                  </a:lnTo>
                  <a:lnTo>
                    <a:pt x="281" y="1246"/>
                  </a:lnTo>
                  <a:lnTo>
                    <a:pt x="0" y="107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6" name="Freeform 30">
              <a:extLst>
                <a:ext uri="{FF2B5EF4-FFF2-40B4-BE49-F238E27FC236}">
                  <a16:creationId xmlns:a16="http://schemas.microsoft.com/office/drawing/2014/main" id="{3A624768-55AF-479F-847D-1A820DC1A37A}"/>
                </a:ext>
              </a:extLst>
            </p:cNvPr>
            <p:cNvSpPr>
              <a:spLocks/>
            </p:cNvSpPr>
            <p:nvPr/>
          </p:nvSpPr>
          <p:spPr bwMode="gray">
            <a:xfrm>
              <a:off x="3277848" y="2969808"/>
              <a:ext cx="487245" cy="438521"/>
            </a:xfrm>
            <a:custGeom>
              <a:avLst/>
              <a:gdLst>
                <a:gd name="T0" fmla="*/ 0 w 1001"/>
                <a:gd name="T1" fmla="*/ 29 h 900"/>
                <a:gd name="T2" fmla="*/ 40 w 1001"/>
                <a:gd name="T3" fmla="*/ 309 h 900"/>
                <a:gd name="T4" fmla="*/ 33 w 1001"/>
                <a:gd name="T5" fmla="*/ 743 h 900"/>
                <a:gd name="T6" fmla="*/ 53 w 1001"/>
                <a:gd name="T7" fmla="*/ 768 h 900"/>
                <a:gd name="T8" fmla="*/ 124 w 1001"/>
                <a:gd name="T9" fmla="*/ 766 h 900"/>
                <a:gd name="T10" fmla="*/ 127 w 1001"/>
                <a:gd name="T11" fmla="*/ 900 h 900"/>
                <a:gd name="T12" fmla="*/ 723 w 1001"/>
                <a:gd name="T13" fmla="*/ 892 h 900"/>
                <a:gd name="T14" fmla="*/ 710 w 1001"/>
                <a:gd name="T15" fmla="*/ 755 h 900"/>
                <a:gd name="T16" fmla="*/ 762 w 1001"/>
                <a:gd name="T17" fmla="*/ 606 h 900"/>
                <a:gd name="T18" fmla="*/ 836 w 1001"/>
                <a:gd name="T19" fmla="*/ 502 h 900"/>
                <a:gd name="T20" fmla="*/ 833 w 1001"/>
                <a:gd name="T21" fmla="*/ 473 h 900"/>
                <a:gd name="T22" fmla="*/ 887 w 1001"/>
                <a:gd name="T23" fmla="*/ 381 h 900"/>
                <a:gd name="T24" fmla="*/ 917 w 1001"/>
                <a:gd name="T25" fmla="*/ 279 h 900"/>
                <a:gd name="T26" fmla="*/ 905 w 1001"/>
                <a:gd name="T27" fmla="*/ 271 h 900"/>
                <a:gd name="T28" fmla="*/ 956 w 1001"/>
                <a:gd name="T29" fmla="*/ 232 h 900"/>
                <a:gd name="T30" fmla="*/ 1001 w 1001"/>
                <a:gd name="T31" fmla="*/ 141 h 900"/>
                <a:gd name="T32" fmla="*/ 985 w 1001"/>
                <a:gd name="T33" fmla="*/ 121 h 900"/>
                <a:gd name="T34" fmla="*/ 852 w 1001"/>
                <a:gd name="T35" fmla="*/ 128 h 900"/>
                <a:gd name="T36" fmla="*/ 888 w 1001"/>
                <a:gd name="T37" fmla="*/ 78 h 900"/>
                <a:gd name="T38" fmla="*/ 878 w 1001"/>
                <a:gd name="T39" fmla="*/ 0 h 900"/>
                <a:gd name="T40" fmla="*/ 0 w 1001"/>
                <a:gd name="T41" fmla="*/ 29 h 9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01"/>
                <a:gd name="T64" fmla="*/ 0 h 900"/>
                <a:gd name="T65" fmla="*/ 1001 w 1001"/>
                <a:gd name="T66" fmla="*/ 900 h 9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01" h="900">
                  <a:moveTo>
                    <a:pt x="0" y="29"/>
                  </a:moveTo>
                  <a:lnTo>
                    <a:pt x="40" y="309"/>
                  </a:lnTo>
                  <a:lnTo>
                    <a:pt x="33" y="743"/>
                  </a:lnTo>
                  <a:lnTo>
                    <a:pt x="53" y="768"/>
                  </a:lnTo>
                  <a:lnTo>
                    <a:pt x="124" y="766"/>
                  </a:lnTo>
                  <a:lnTo>
                    <a:pt x="127" y="900"/>
                  </a:lnTo>
                  <a:lnTo>
                    <a:pt x="723" y="892"/>
                  </a:lnTo>
                  <a:lnTo>
                    <a:pt x="710" y="755"/>
                  </a:lnTo>
                  <a:lnTo>
                    <a:pt x="762" y="606"/>
                  </a:lnTo>
                  <a:lnTo>
                    <a:pt x="836" y="502"/>
                  </a:lnTo>
                  <a:lnTo>
                    <a:pt x="833" y="473"/>
                  </a:lnTo>
                  <a:lnTo>
                    <a:pt x="887" y="381"/>
                  </a:lnTo>
                  <a:lnTo>
                    <a:pt x="917" y="279"/>
                  </a:lnTo>
                  <a:lnTo>
                    <a:pt x="905" y="271"/>
                  </a:lnTo>
                  <a:lnTo>
                    <a:pt x="956" y="232"/>
                  </a:lnTo>
                  <a:lnTo>
                    <a:pt x="1001" y="141"/>
                  </a:lnTo>
                  <a:lnTo>
                    <a:pt x="985" y="121"/>
                  </a:lnTo>
                  <a:lnTo>
                    <a:pt x="852" y="128"/>
                  </a:lnTo>
                  <a:lnTo>
                    <a:pt x="888" y="78"/>
                  </a:lnTo>
                  <a:lnTo>
                    <a:pt x="878" y="0"/>
                  </a:lnTo>
                  <a:lnTo>
                    <a:pt x="0" y="2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7" name="Freeform 31">
              <a:extLst>
                <a:ext uri="{FF2B5EF4-FFF2-40B4-BE49-F238E27FC236}">
                  <a16:creationId xmlns:a16="http://schemas.microsoft.com/office/drawing/2014/main" id="{8512BEAB-A7F4-4F60-8CDE-9257FD225FC3}"/>
                </a:ext>
              </a:extLst>
            </p:cNvPr>
            <p:cNvSpPr>
              <a:spLocks/>
            </p:cNvSpPr>
            <p:nvPr/>
          </p:nvSpPr>
          <p:spPr bwMode="gray">
            <a:xfrm>
              <a:off x="570714" y="1922231"/>
              <a:ext cx="767899" cy="1314587"/>
            </a:xfrm>
            <a:custGeom>
              <a:avLst/>
              <a:gdLst>
                <a:gd name="T0" fmla="*/ 37 w 1575"/>
                <a:gd name="T1" fmla="*/ 490 h 2698"/>
                <a:gd name="T2" fmla="*/ 57 w 1575"/>
                <a:gd name="T3" fmla="*/ 548 h 2698"/>
                <a:gd name="T4" fmla="*/ 11 w 1575"/>
                <a:gd name="T5" fmla="*/ 758 h 2698"/>
                <a:gd name="T6" fmla="*/ 39 w 1575"/>
                <a:gd name="T7" fmla="*/ 821 h 2698"/>
                <a:gd name="T8" fmla="*/ 164 w 1575"/>
                <a:gd name="T9" fmla="*/ 1099 h 2698"/>
                <a:gd name="T10" fmla="*/ 177 w 1575"/>
                <a:gd name="T11" fmla="*/ 1092 h 2698"/>
                <a:gd name="T12" fmla="*/ 183 w 1575"/>
                <a:gd name="T13" fmla="*/ 1030 h 2698"/>
                <a:gd name="T14" fmla="*/ 204 w 1575"/>
                <a:gd name="T15" fmla="*/ 1022 h 2698"/>
                <a:gd name="T16" fmla="*/ 225 w 1575"/>
                <a:gd name="T17" fmla="*/ 1037 h 2698"/>
                <a:gd name="T18" fmla="*/ 188 w 1575"/>
                <a:gd name="T19" fmla="*/ 1074 h 2698"/>
                <a:gd name="T20" fmla="*/ 203 w 1575"/>
                <a:gd name="T21" fmla="*/ 1094 h 2698"/>
                <a:gd name="T22" fmla="*/ 235 w 1575"/>
                <a:gd name="T23" fmla="*/ 1214 h 2698"/>
                <a:gd name="T24" fmla="*/ 215 w 1575"/>
                <a:gd name="T25" fmla="*/ 1207 h 2698"/>
                <a:gd name="T26" fmla="*/ 171 w 1575"/>
                <a:gd name="T27" fmla="*/ 1160 h 2698"/>
                <a:gd name="T28" fmla="*/ 183 w 1575"/>
                <a:gd name="T29" fmla="*/ 1114 h 2698"/>
                <a:gd name="T30" fmla="*/ 162 w 1575"/>
                <a:gd name="T31" fmla="*/ 1116 h 2698"/>
                <a:gd name="T32" fmla="*/ 138 w 1575"/>
                <a:gd name="T33" fmla="*/ 1167 h 2698"/>
                <a:gd name="T34" fmla="*/ 145 w 1575"/>
                <a:gd name="T35" fmla="*/ 1276 h 2698"/>
                <a:gd name="T36" fmla="*/ 173 w 1575"/>
                <a:gd name="T37" fmla="*/ 1326 h 2698"/>
                <a:gd name="T38" fmla="*/ 229 w 1575"/>
                <a:gd name="T39" fmla="*/ 1369 h 2698"/>
                <a:gd name="T40" fmla="*/ 209 w 1575"/>
                <a:gd name="T41" fmla="*/ 1421 h 2698"/>
                <a:gd name="T42" fmla="*/ 177 w 1575"/>
                <a:gd name="T43" fmla="*/ 1431 h 2698"/>
                <a:gd name="T44" fmla="*/ 173 w 1575"/>
                <a:gd name="T45" fmla="*/ 1500 h 2698"/>
                <a:gd name="T46" fmla="*/ 249 w 1575"/>
                <a:gd name="T47" fmla="*/ 1661 h 2698"/>
                <a:gd name="T48" fmla="*/ 311 w 1575"/>
                <a:gd name="T49" fmla="*/ 1762 h 2698"/>
                <a:gd name="T50" fmla="*/ 301 w 1575"/>
                <a:gd name="T51" fmla="*/ 1821 h 2698"/>
                <a:gd name="T52" fmla="*/ 338 w 1575"/>
                <a:gd name="T53" fmla="*/ 1857 h 2698"/>
                <a:gd name="T54" fmla="*/ 323 w 1575"/>
                <a:gd name="T55" fmla="*/ 1896 h 2698"/>
                <a:gd name="T56" fmla="*/ 300 w 1575"/>
                <a:gd name="T57" fmla="*/ 1990 h 2698"/>
                <a:gd name="T58" fmla="*/ 327 w 1575"/>
                <a:gd name="T59" fmla="*/ 2025 h 2698"/>
                <a:gd name="T60" fmla="*/ 520 w 1575"/>
                <a:gd name="T61" fmla="*/ 2094 h 2698"/>
                <a:gd name="T62" fmla="*/ 598 w 1575"/>
                <a:gd name="T63" fmla="*/ 2199 h 2698"/>
                <a:gd name="T64" fmla="*/ 688 w 1575"/>
                <a:gd name="T65" fmla="*/ 2234 h 2698"/>
                <a:gd name="T66" fmla="*/ 690 w 1575"/>
                <a:gd name="T67" fmla="*/ 2298 h 2698"/>
                <a:gd name="T68" fmla="*/ 750 w 1575"/>
                <a:gd name="T69" fmla="*/ 2314 h 2698"/>
                <a:gd name="T70" fmla="*/ 832 w 1575"/>
                <a:gd name="T71" fmla="*/ 2423 h 2698"/>
                <a:gd name="T72" fmla="*/ 876 w 1575"/>
                <a:gd name="T73" fmla="*/ 2518 h 2698"/>
                <a:gd name="T74" fmla="*/ 878 w 1575"/>
                <a:gd name="T75" fmla="*/ 2662 h 2698"/>
                <a:gd name="T76" fmla="*/ 1436 w 1575"/>
                <a:gd name="T77" fmla="*/ 2698 h 2698"/>
                <a:gd name="T78" fmla="*/ 1401 w 1575"/>
                <a:gd name="T79" fmla="*/ 2638 h 2698"/>
                <a:gd name="T80" fmla="*/ 1419 w 1575"/>
                <a:gd name="T81" fmla="*/ 2552 h 2698"/>
                <a:gd name="T82" fmla="*/ 1508 w 1575"/>
                <a:gd name="T83" fmla="*/ 2404 h 2698"/>
                <a:gd name="T84" fmla="*/ 1575 w 1575"/>
                <a:gd name="T85" fmla="*/ 2362 h 2698"/>
                <a:gd name="T86" fmla="*/ 1536 w 1575"/>
                <a:gd name="T87" fmla="*/ 2310 h 2698"/>
                <a:gd name="T88" fmla="*/ 1510 w 1575"/>
                <a:gd name="T89" fmla="*/ 2163 h 2698"/>
                <a:gd name="T90" fmla="*/ 766 w 1575"/>
                <a:gd name="T91" fmla="*/ 1041 h 2698"/>
                <a:gd name="T92" fmla="*/ 708 w 1575"/>
                <a:gd name="T93" fmla="*/ 927 h 2698"/>
                <a:gd name="T94" fmla="*/ 896 w 1575"/>
                <a:gd name="T95" fmla="*/ 210 h 2698"/>
                <a:gd name="T96" fmla="*/ 152 w 1575"/>
                <a:gd name="T97" fmla="*/ 0 h 2698"/>
                <a:gd name="T98" fmla="*/ 130 w 1575"/>
                <a:gd name="T99" fmla="*/ 44 h 2698"/>
                <a:gd name="T100" fmla="*/ 137 w 1575"/>
                <a:gd name="T101" fmla="*/ 137 h 2698"/>
                <a:gd name="T102" fmla="*/ 0 w 1575"/>
                <a:gd name="T103" fmla="*/ 360 h 2698"/>
                <a:gd name="T104" fmla="*/ 37 w 1575"/>
                <a:gd name="T105" fmla="*/ 490 h 26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75"/>
                <a:gd name="T160" fmla="*/ 0 h 2698"/>
                <a:gd name="T161" fmla="*/ 1575 w 1575"/>
                <a:gd name="T162" fmla="*/ 2698 h 269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75" h="2698">
                  <a:moveTo>
                    <a:pt x="37" y="490"/>
                  </a:moveTo>
                  <a:lnTo>
                    <a:pt x="57" y="548"/>
                  </a:lnTo>
                  <a:lnTo>
                    <a:pt x="11" y="758"/>
                  </a:lnTo>
                  <a:lnTo>
                    <a:pt x="39" y="821"/>
                  </a:lnTo>
                  <a:lnTo>
                    <a:pt x="164" y="1099"/>
                  </a:lnTo>
                  <a:lnTo>
                    <a:pt x="177" y="1092"/>
                  </a:lnTo>
                  <a:lnTo>
                    <a:pt x="183" y="1030"/>
                  </a:lnTo>
                  <a:lnTo>
                    <a:pt x="204" y="1022"/>
                  </a:lnTo>
                  <a:lnTo>
                    <a:pt x="225" y="1037"/>
                  </a:lnTo>
                  <a:lnTo>
                    <a:pt x="188" y="1074"/>
                  </a:lnTo>
                  <a:lnTo>
                    <a:pt x="203" y="1094"/>
                  </a:lnTo>
                  <a:lnTo>
                    <a:pt x="235" y="1214"/>
                  </a:lnTo>
                  <a:lnTo>
                    <a:pt x="215" y="1207"/>
                  </a:lnTo>
                  <a:lnTo>
                    <a:pt x="171" y="1160"/>
                  </a:lnTo>
                  <a:lnTo>
                    <a:pt x="183" y="1114"/>
                  </a:lnTo>
                  <a:lnTo>
                    <a:pt x="162" y="1116"/>
                  </a:lnTo>
                  <a:lnTo>
                    <a:pt x="138" y="1167"/>
                  </a:lnTo>
                  <a:lnTo>
                    <a:pt x="145" y="1276"/>
                  </a:lnTo>
                  <a:lnTo>
                    <a:pt x="173" y="1326"/>
                  </a:lnTo>
                  <a:lnTo>
                    <a:pt x="229" y="1369"/>
                  </a:lnTo>
                  <a:lnTo>
                    <a:pt x="209" y="1421"/>
                  </a:lnTo>
                  <a:lnTo>
                    <a:pt x="177" y="1431"/>
                  </a:lnTo>
                  <a:lnTo>
                    <a:pt x="173" y="1500"/>
                  </a:lnTo>
                  <a:lnTo>
                    <a:pt x="249" y="1661"/>
                  </a:lnTo>
                  <a:lnTo>
                    <a:pt x="311" y="1762"/>
                  </a:lnTo>
                  <a:lnTo>
                    <a:pt x="301" y="1821"/>
                  </a:lnTo>
                  <a:lnTo>
                    <a:pt x="338" y="1857"/>
                  </a:lnTo>
                  <a:lnTo>
                    <a:pt x="323" y="1896"/>
                  </a:lnTo>
                  <a:lnTo>
                    <a:pt x="300" y="1990"/>
                  </a:lnTo>
                  <a:lnTo>
                    <a:pt x="327" y="2025"/>
                  </a:lnTo>
                  <a:lnTo>
                    <a:pt x="520" y="2094"/>
                  </a:lnTo>
                  <a:lnTo>
                    <a:pt x="598" y="2199"/>
                  </a:lnTo>
                  <a:lnTo>
                    <a:pt x="688" y="2234"/>
                  </a:lnTo>
                  <a:lnTo>
                    <a:pt x="690" y="2298"/>
                  </a:lnTo>
                  <a:lnTo>
                    <a:pt x="750" y="2314"/>
                  </a:lnTo>
                  <a:lnTo>
                    <a:pt x="832" y="2423"/>
                  </a:lnTo>
                  <a:lnTo>
                    <a:pt x="876" y="2518"/>
                  </a:lnTo>
                  <a:lnTo>
                    <a:pt x="878" y="2662"/>
                  </a:lnTo>
                  <a:lnTo>
                    <a:pt x="1436" y="2698"/>
                  </a:lnTo>
                  <a:lnTo>
                    <a:pt x="1401" y="2638"/>
                  </a:lnTo>
                  <a:lnTo>
                    <a:pt x="1419" y="2552"/>
                  </a:lnTo>
                  <a:lnTo>
                    <a:pt x="1508" y="2404"/>
                  </a:lnTo>
                  <a:lnTo>
                    <a:pt x="1575" y="2362"/>
                  </a:lnTo>
                  <a:lnTo>
                    <a:pt x="1536" y="2310"/>
                  </a:lnTo>
                  <a:lnTo>
                    <a:pt x="1510" y="2163"/>
                  </a:lnTo>
                  <a:lnTo>
                    <a:pt x="766" y="1041"/>
                  </a:lnTo>
                  <a:lnTo>
                    <a:pt x="708" y="927"/>
                  </a:lnTo>
                  <a:lnTo>
                    <a:pt x="896" y="210"/>
                  </a:lnTo>
                  <a:lnTo>
                    <a:pt x="152" y="0"/>
                  </a:lnTo>
                  <a:lnTo>
                    <a:pt x="130" y="44"/>
                  </a:lnTo>
                  <a:lnTo>
                    <a:pt x="137" y="137"/>
                  </a:lnTo>
                  <a:lnTo>
                    <a:pt x="0" y="360"/>
                  </a:lnTo>
                  <a:lnTo>
                    <a:pt x="37" y="49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8" name="Freeform 32">
              <a:extLst>
                <a:ext uri="{FF2B5EF4-FFF2-40B4-BE49-F238E27FC236}">
                  <a16:creationId xmlns:a16="http://schemas.microsoft.com/office/drawing/2014/main" id="{60DEE3BD-54E9-4DE3-B714-C0115E51A32F}"/>
                </a:ext>
              </a:extLst>
            </p:cNvPr>
            <p:cNvSpPr>
              <a:spLocks/>
            </p:cNvSpPr>
            <p:nvPr/>
          </p:nvSpPr>
          <p:spPr bwMode="gray">
            <a:xfrm>
              <a:off x="1888225" y="2345160"/>
              <a:ext cx="704556" cy="556434"/>
            </a:xfrm>
            <a:custGeom>
              <a:avLst/>
              <a:gdLst>
                <a:gd name="T0" fmla="*/ 0 w 1445"/>
                <a:gd name="T1" fmla="*/ 1000 h 1144"/>
                <a:gd name="T2" fmla="*/ 140 w 1445"/>
                <a:gd name="T3" fmla="*/ 0 h 1144"/>
                <a:gd name="T4" fmla="*/ 1070 w 1445"/>
                <a:gd name="T5" fmla="*/ 106 h 1144"/>
                <a:gd name="T6" fmla="*/ 1445 w 1445"/>
                <a:gd name="T7" fmla="*/ 137 h 1144"/>
                <a:gd name="T8" fmla="*/ 1429 w 1445"/>
                <a:gd name="T9" fmla="*/ 386 h 1144"/>
                <a:gd name="T10" fmla="*/ 1379 w 1445"/>
                <a:gd name="T11" fmla="*/ 1144 h 1144"/>
                <a:gd name="T12" fmla="*/ 1190 w 1445"/>
                <a:gd name="T13" fmla="*/ 1130 h 1144"/>
                <a:gd name="T14" fmla="*/ 596 w 1445"/>
                <a:gd name="T15" fmla="*/ 1078 h 1144"/>
                <a:gd name="T16" fmla="*/ 0 w 1445"/>
                <a:gd name="T17" fmla="*/ 1000 h 1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5"/>
                <a:gd name="T28" fmla="*/ 0 h 1144"/>
                <a:gd name="T29" fmla="*/ 1445 w 1445"/>
                <a:gd name="T30" fmla="*/ 1144 h 1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5" h="1144">
                  <a:moveTo>
                    <a:pt x="0" y="1000"/>
                  </a:moveTo>
                  <a:lnTo>
                    <a:pt x="140" y="0"/>
                  </a:lnTo>
                  <a:lnTo>
                    <a:pt x="1070" y="106"/>
                  </a:lnTo>
                  <a:lnTo>
                    <a:pt x="1445" y="137"/>
                  </a:lnTo>
                  <a:lnTo>
                    <a:pt x="1429" y="386"/>
                  </a:lnTo>
                  <a:lnTo>
                    <a:pt x="1379" y="1144"/>
                  </a:lnTo>
                  <a:lnTo>
                    <a:pt x="1190" y="1130"/>
                  </a:lnTo>
                  <a:lnTo>
                    <a:pt x="596" y="1078"/>
                  </a:lnTo>
                  <a:lnTo>
                    <a:pt x="0" y="100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9" name="Freeform 33">
              <a:extLst>
                <a:ext uri="{FF2B5EF4-FFF2-40B4-BE49-F238E27FC236}">
                  <a16:creationId xmlns:a16="http://schemas.microsoft.com/office/drawing/2014/main" id="{F7D7E39C-BA35-4A1D-950F-10A3948C31DE}"/>
                </a:ext>
              </a:extLst>
            </p:cNvPr>
            <p:cNvSpPr>
              <a:spLocks/>
            </p:cNvSpPr>
            <p:nvPr/>
          </p:nvSpPr>
          <p:spPr bwMode="gray">
            <a:xfrm>
              <a:off x="5157640" y="2044042"/>
              <a:ext cx="166638" cy="156893"/>
            </a:xfrm>
            <a:custGeom>
              <a:avLst/>
              <a:gdLst>
                <a:gd name="T0" fmla="*/ 0 w 341"/>
                <a:gd name="T1" fmla="*/ 65 h 324"/>
                <a:gd name="T2" fmla="*/ 28 w 341"/>
                <a:gd name="T3" fmla="*/ 235 h 324"/>
                <a:gd name="T4" fmla="*/ 27 w 341"/>
                <a:gd name="T5" fmla="*/ 324 h 324"/>
                <a:gd name="T6" fmla="*/ 55 w 341"/>
                <a:gd name="T7" fmla="*/ 316 h 324"/>
                <a:gd name="T8" fmla="*/ 69 w 341"/>
                <a:gd name="T9" fmla="*/ 291 h 324"/>
                <a:gd name="T10" fmla="*/ 119 w 341"/>
                <a:gd name="T11" fmla="*/ 271 h 324"/>
                <a:gd name="T12" fmla="*/ 143 w 341"/>
                <a:gd name="T13" fmla="*/ 226 h 324"/>
                <a:gd name="T14" fmla="*/ 156 w 341"/>
                <a:gd name="T15" fmla="*/ 235 h 324"/>
                <a:gd name="T16" fmla="*/ 193 w 341"/>
                <a:gd name="T17" fmla="*/ 220 h 324"/>
                <a:gd name="T18" fmla="*/ 244 w 341"/>
                <a:gd name="T19" fmla="*/ 209 h 324"/>
                <a:gd name="T20" fmla="*/ 248 w 341"/>
                <a:gd name="T21" fmla="*/ 193 h 324"/>
                <a:gd name="T22" fmla="*/ 262 w 341"/>
                <a:gd name="T23" fmla="*/ 201 h 324"/>
                <a:gd name="T24" fmla="*/ 279 w 341"/>
                <a:gd name="T25" fmla="*/ 187 h 324"/>
                <a:gd name="T26" fmla="*/ 306 w 341"/>
                <a:gd name="T27" fmla="*/ 182 h 324"/>
                <a:gd name="T28" fmla="*/ 341 w 341"/>
                <a:gd name="T29" fmla="*/ 164 h 324"/>
                <a:gd name="T30" fmla="*/ 308 w 341"/>
                <a:gd name="T31" fmla="*/ 0 h 324"/>
                <a:gd name="T32" fmla="*/ 0 w 341"/>
                <a:gd name="T33" fmla="*/ 65 h 3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1"/>
                <a:gd name="T52" fmla="*/ 0 h 324"/>
                <a:gd name="T53" fmla="*/ 341 w 341"/>
                <a:gd name="T54" fmla="*/ 324 h 3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1" h="324">
                  <a:moveTo>
                    <a:pt x="0" y="65"/>
                  </a:moveTo>
                  <a:lnTo>
                    <a:pt x="28" y="235"/>
                  </a:lnTo>
                  <a:lnTo>
                    <a:pt x="27" y="324"/>
                  </a:lnTo>
                  <a:lnTo>
                    <a:pt x="55" y="316"/>
                  </a:lnTo>
                  <a:lnTo>
                    <a:pt x="69" y="291"/>
                  </a:lnTo>
                  <a:lnTo>
                    <a:pt x="119" y="271"/>
                  </a:lnTo>
                  <a:lnTo>
                    <a:pt x="143" y="226"/>
                  </a:lnTo>
                  <a:lnTo>
                    <a:pt x="156" y="235"/>
                  </a:lnTo>
                  <a:lnTo>
                    <a:pt x="193" y="220"/>
                  </a:lnTo>
                  <a:lnTo>
                    <a:pt x="244" y="209"/>
                  </a:lnTo>
                  <a:lnTo>
                    <a:pt x="248" y="193"/>
                  </a:lnTo>
                  <a:lnTo>
                    <a:pt x="262" y="201"/>
                  </a:lnTo>
                  <a:lnTo>
                    <a:pt x="279" y="187"/>
                  </a:lnTo>
                  <a:lnTo>
                    <a:pt x="306" y="182"/>
                  </a:lnTo>
                  <a:lnTo>
                    <a:pt x="341" y="164"/>
                  </a:lnTo>
                  <a:lnTo>
                    <a:pt x="308" y="0"/>
                  </a:lnTo>
                  <a:lnTo>
                    <a:pt x="0" y="65"/>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0" name="Freeform 34">
              <a:extLst>
                <a:ext uri="{FF2B5EF4-FFF2-40B4-BE49-F238E27FC236}">
                  <a16:creationId xmlns:a16="http://schemas.microsoft.com/office/drawing/2014/main" id="{E23B3648-2792-4C56-81B6-C11CCC322DDB}"/>
                </a:ext>
              </a:extLst>
            </p:cNvPr>
            <p:cNvSpPr>
              <a:spLocks/>
            </p:cNvSpPr>
            <p:nvPr/>
          </p:nvSpPr>
          <p:spPr bwMode="gray">
            <a:xfrm>
              <a:off x="5013416" y="2383165"/>
              <a:ext cx="101347" cy="166638"/>
            </a:xfrm>
            <a:custGeom>
              <a:avLst/>
              <a:gdLst>
                <a:gd name="T0" fmla="*/ 0 w 208"/>
                <a:gd name="T1" fmla="*/ 34 h 343"/>
                <a:gd name="T2" fmla="*/ 29 w 208"/>
                <a:gd name="T3" fmla="*/ 0 h 343"/>
                <a:gd name="T4" fmla="*/ 69 w 208"/>
                <a:gd name="T5" fmla="*/ 0 h 343"/>
                <a:gd name="T6" fmla="*/ 55 w 208"/>
                <a:gd name="T7" fmla="*/ 36 h 343"/>
                <a:gd name="T8" fmla="*/ 43 w 208"/>
                <a:gd name="T9" fmla="*/ 49 h 343"/>
                <a:gd name="T10" fmla="*/ 51 w 208"/>
                <a:gd name="T11" fmla="*/ 86 h 343"/>
                <a:gd name="T12" fmla="*/ 72 w 208"/>
                <a:gd name="T13" fmla="*/ 111 h 343"/>
                <a:gd name="T14" fmla="*/ 102 w 208"/>
                <a:gd name="T15" fmla="*/ 141 h 343"/>
                <a:gd name="T16" fmla="*/ 111 w 208"/>
                <a:gd name="T17" fmla="*/ 181 h 343"/>
                <a:gd name="T18" fmla="*/ 133 w 208"/>
                <a:gd name="T19" fmla="*/ 208 h 343"/>
                <a:gd name="T20" fmla="*/ 152 w 208"/>
                <a:gd name="T21" fmla="*/ 228 h 343"/>
                <a:gd name="T22" fmla="*/ 183 w 208"/>
                <a:gd name="T23" fmla="*/ 240 h 343"/>
                <a:gd name="T24" fmla="*/ 199 w 208"/>
                <a:gd name="T25" fmla="*/ 271 h 343"/>
                <a:gd name="T26" fmla="*/ 173 w 208"/>
                <a:gd name="T27" fmla="*/ 297 h 343"/>
                <a:gd name="T28" fmla="*/ 200 w 208"/>
                <a:gd name="T29" fmla="*/ 291 h 343"/>
                <a:gd name="T30" fmla="*/ 208 w 208"/>
                <a:gd name="T31" fmla="*/ 318 h 343"/>
                <a:gd name="T32" fmla="*/ 153 w 208"/>
                <a:gd name="T33" fmla="*/ 330 h 343"/>
                <a:gd name="T34" fmla="*/ 83 w 208"/>
                <a:gd name="T35" fmla="*/ 343 h 343"/>
                <a:gd name="T36" fmla="*/ 78 w 208"/>
                <a:gd name="T37" fmla="*/ 319 h 343"/>
                <a:gd name="T38" fmla="*/ 0 w 208"/>
                <a:gd name="T39" fmla="*/ 34 h 3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8"/>
                <a:gd name="T61" fmla="*/ 0 h 343"/>
                <a:gd name="T62" fmla="*/ 208 w 208"/>
                <a:gd name="T63" fmla="*/ 343 h 3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8" h="343">
                  <a:moveTo>
                    <a:pt x="0" y="34"/>
                  </a:moveTo>
                  <a:lnTo>
                    <a:pt x="29" y="0"/>
                  </a:lnTo>
                  <a:lnTo>
                    <a:pt x="69" y="0"/>
                  </a:lnTo>
                  <a:lnTo>
                    <a:pt x="55" y="36"/>
                  </a:lnTo>
                  <a:lnTo>
                    <a:pt x="43" y="49"/>
                  </a:lnTo>
                  <a:lnTo>
                    <a:pt x="51" y="86"/>
                  </a:lnTo>
                  <a:lnTo>
                    <a:pt x="72" y="111"/>
                  </a:lnTo>
                  <a:lnTo>
                    <a:pt x="102" y="141"/>
                  </a:lnTo>
                  <a:lnTo>
                    <a:pt x="111" y="181"/>
                  </a:lnTo>
                  <a:lnTo>
                    <a:pt x="133" y="208"/>
                  </a:lnTo>
                  <a:lnTo>
                    <a:pt x="152" y="228"/>
                  </a:lnTo>
                  <a:lnTo>
                    <a:pt x="183" y="240"/>
                  </a:lnTo>
                  <a:lnTo>
                    <a:pt x="199" y="271"/>
                  </a:lnTo>
                  <a:lnTo>
                    <a:pt x="173" y="297"/>
                  </a:lnTo>
                  <a:lnTo>
                    <a:pt x="200" y="291"/>
                  </a:lnTo>
                  <a:lnTo>
                    <a:pt x="208" y="318"/>
                  </a:lnTo>
                  <a:lnTo>
                    <a:pt x="153" y="330"/>
                  </a:lnTo>
                  <a:lnTo>
                    <a:pt x="83" y="343"/>
                  </a:lnTo>
                  <a:lnTo>
                    <a:pt x="78" y="319"/>
                  </a:lnTo>
                  <a:lnTo>
                    <a:pt x="0" y="3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1" name="Freeform 35">
              <a:extLst>
                <a:ext uri="{FF2B5EF4-FFF2-40B4-BE49-F238E27FC236}">
                  <a16:creationId xmlns:a16="http://schemas.microsoft.com/office/drawing/2014/main" id="{4B80DD01-E535-4287-A2B0-E78B79FC6643}"/>
                </a:ext>
              </a:extLst>
            </p:cNvPr>
            <p:cNvSpPr>
              <a:spLocks/>
            </p:cNvSpPr>
            <p:nvPr/>
          </p:nvSpPr>
          <p:spPr bwMode="gray">
            <a:xfrm>
              <a:off x="4910120" y="2512773"/>
              <a:ext cx="15592" cy="20464"/>
            </a:xfrm>
            <a:custGeom>
              <a:avLst/>
              <a:gdLst>
                <a:gd name="T0" fmla="*/ 0 w 32"/>
                <a:gd name="T1" fmla="*/ 12 h 43"/>
                <a:gd name="T2" fmla="*/ 21 w 32"/>
                <a:gd name="T3" fmla="*/ 0 h 43"/>
                <a:gd name="T4" fmla="*/ 32 w 32"/>
                <a:gd name="T5" fmla="*/ 24 h 43"/>
                <a:gd name="T6" fmla="*/ 21 w 32"/>
                <a:gd name="T7" fmla="*/ 43 h 43"/>
                <a:gd name="T8" fmla="*/ 0 w 32"/>
                <a:gd name="T9" fmla="*/ 12 h 43"/>
                <a:gd name="T10" fmla="*/ 0 60000 65536"/>
                <a:gd name="T11" fmla="*/ 0 60000 65536"/>
                <a:gd name="T12" fmla="*/ 0 60000 65536"/>
                <a:gd name="T13" fmla="*/ 0 60000 65536"/>
                <a:gd name="T14" fmla="*/ 0 60000 65536"/>
                <a:gd name="T15" fmla="*/ 0 w 32"/>
                <a:gd name="T16" fmla="*/ 0 h 43"/>
                <a:gd name="T17" fmla="*/ 32 w 32"/>
                <a:gd name="T18" fmla="*/ 43 h 43"/>
              </a:gdLst>
              <a:ahLst/>
              <a:cxnLst>
                <a:cxn ang="T10">
                  <a:pos x="T0" y="T1"/>
                </a:cxn>
                <a:cxn ang="T11">
                  <a:pos x="T2" y="T3"/>
                </a:cxn>
                <a:cxn ang="T12">
                  <a:pos x="T4" y="T5"/>
                </a:cxn>
                <a:cxn ang="T13">
                  <a:pos x="T6" y="T7"/>
                </a:cxn>
                <a:cxn ang="T14">
                  <a:pos x="T8" y="T9"/>
                </a:cxn>
              </a:cxnLst>
              <a:rect l="T15" t="T16" r="T17" b="T18"/>
              <a:pathLst>
                <a:path w="32" h="43">
                  <a:moveTo>
                    <a:pt x="0" y="12"/>
                  </a:moveTo>
                  <a:lnTo>
                    <a:pt x="21" y="0"/>
                  </a:lnTo>
                  <a:lnTo>
                    <a:pt x="32" y="24"/>
                  </a:lnTo>
                  <a:lnTo>
                    <a:pt x="21" y="43"/>
                  </a:lnTo>
                  <a:lnTo>
                    <a:pt x="0" y="1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nvGrpSpPr>
            <p:cNvPr id="22" name="Group 111">
              <a:extLst>
                <a:ext uri="{FF2B5EF4-FFF2-40B4-BE49-F238E27FC236}">
                  <a16:creationId xmlns:a16="http://schemas.microsoft.com/office/drawing/2014/main" id="{D5821767-2735-4463-8645-89DB01B02415}"/>
                </a:ext>
              </a:extLst>
            </p:cNvPr>
            <p:cNvGrpSpPr/>
            <p:nvPr/>
          </p:nvGrpSpPr>
          <p:grpSpPr bwMode="gray">
            <a:xfrm>
              <a:off x="4014563" y="3578865"/>
              <a:ext cx="877041" cy="745485"/>
              <a:chOff x="4014563" y="3578865"/>
              <a:chExt cx="877041" cy="745485"/>
            </a:xfrm>
            <a:grpFill/>
          </p:grpSpPr>
          <p:sp>
            <p:nvSpPr>
              <p:cNvPr id="83" name="Freeform 36">
                <a:extLst>
                  <a:ext uri="{FF2B5EF4-FFF2-40B4-BE49-F238E27FC236}">
                    <a16:creationId xmlns:a16="http://schemas.microsoft.com/office/drawing/2014/main" id="{08E9FAD4-2926-4A8E-8F35-F2FAFA85147A}"/>
                  </a:ext>
                </a:extLst>
              </p:cNvPr>
              <p:cNvSpPr>
                <a:spLocks/>
              </p:cNvSpPr>
              <p:nvPr/>
            </p:nvSpPr>
            <p:spPr bwMode="gray">
              <a:xfrm>
                <a:off x="4014563" y="3578865"/>
                <a:ext cx="877041" cy="665577"/>
              </a:xfrm>
              <a:custGeom>
                <a:avLst/>
                <a:gdLst>
                  <a:gd name="T0" fmla="*/ 0 w 1801"/>
                  <a:gd name="T1" fmla="*/ 130 h 1367"/>
                  <a:gd name="T2" fmla="*/ 43 w 1801"/>
                  <a:gd name="T3" fmla="*/ 209 h 1367"/>
                  <a:gd name="T4" fmla="*/ 38 w 1801"/>
                  <a:gd name="T5" fmla="*/ 263 h 1367"/>
                  <a:gd name="T6" fmla="*/ 102 w 1801"/>
                  <a:gd name="T7" fmla="*/ 222 h 1367"/>
                  <a:gd name="T8" fmla="*/ 117 w 1801"/>
                  <a:gd name="T9" fmla="*/ 212 h 1367"/>
                  <a:gd name="T10" fmla="*/ 149 w 1801"/>
                  <a:gd name="T11" fmla="*/ 208 h 1367"/>
                  <a:gd name="T12" fmla="*/ 225 w 1801"/>
                  <a:gd name="T13" fmla="*/ 214 h 1367"/>
                  <a:gd name="T14" fmla="*/ 264 w 1801"/>
                  <a:gd name="T15" fmla="*/ 199 h 1367"/>
                  <a:gd name="T16" fmla="*/ 330 w 1801"/>
                  <a:gd name="T17" fmla="*/ 202 h 1367"/>
                  <a:gd name="T18" fmla="*/ 274 w 1801"/>
                  <a:gd name="T19" fmla="*/ 220 h 1367"/>
                  <a:gd name="T20" fmla="*/ 420 w 1801"/>
                  <a:gd name="T21" fmla="*/ 269 h 1367"/>
                  <a:gd name="T22" fmla="*/ 430 w 1801"/>
                  <a:gd name="T23" fmla="*/ 260 h 1367"/>
                  <a:gd name="T24" fmla="*/ 435 w 1801"/>
                  <a:gd name="T25" fmla="*/ 274 h 1367"/>
                  <a:gd name="T26" fmla="*/ 520 w 1801"/>
                  <a:gd name="T27" fmla="*/ 334 h 1367"/>
                  <a:gd name="T28" fmla="*/ 494 w 1801"/>
                  <a:gd name="T29" fmla="*/ 327 h 1367"/>
                  <a:gd name="T30" fmla="*/ 557 w 1801"/>
                  <a:gd name="T31" fmla="*/ 357 h 1367"/>
                  <a:gd name="T32" fmla="*/ 609 w 1801"/>
                  <a:gd name="T33" fmla="*/ 332 h 1367"/>
                  <a:gd name="T34" fmla="*/ 682 w 1801"/>
                  <a:gd name="T35" fmla="*/ 298 h 1367"/>
                  <a:gd name="T36" fmla="*/ 709 w 1801"/>
                  <a:gd name="T37" fmla="*/ 279 h 1367"/>
                  <a:gd name="T38" fmla="*/ 801 w 1801"/>
                  <a:gd name="T39" fmla="*/ 238 h 1367"/>
                  <a:gd name="T40" fmla="*/ 906 w 1801"/>
                  <a:gd name="T41" fmla="*/ 319 h 1367"/>
                  <a:gd name="T42" fmla="*/ 948 w 1801"/>
                  <a:gd name="T43" fmla="*/ 365 h 1367"/>
                  <a:gd name="T44" fmla="*/ 1006 w 1801"/>
                  <a:gd name="T45" fmla="*/ 412 h 1367"/>
                  <a:gd name="T46" fmla="*/ 1085 w 1801"/>
                  <a:gd name="T47" fmla="*/ 436 h 1367"/>
                  <a:gd name="T48" fmla="*/ 1138 w 1801"/>
                  <a:gd name="T49" fmla="*/ 547 h 1367"/>
                  <a:gd name="T50" fmla="*/ 1125 w 1801"/>
                  <a:gd name="T51" fmla="*/ 764 h 1367"/>
                  <a:gd name="T52" fmla="*/ 1169 w 1801"/>
                  <a:gd name="T53" fmla="*/ 750 h 1367"/>
                  <a:gd name="T54" fmla="*/ 1147 w 1801"/>
                  <a:gd name="T55" fmla="*/ 710 h 1367"/>
                  <a:gd name="T56" fmla="*/ 1184 w 1801"/>
                  <a:gd name="T57" fmla="*/ 727 h 1367"/>
                  <a:gd name="T58" fmla="*/ 1208 w 1801"/>
                  <a:gd name="T59" fmla="*/ 723 h 1367"/>
                  <a:gd name="T60" fmla="*/ 1172 w 1801"/>
                  <a:gd name="T61" fmla="*/ 835 h 1367"/>
                  <a:gd name="T62" fmla="*/ 1199 w 1801"/>
                  <a:gd name="T63" fmla="*/ 868 h 1367"/>
                  <a:gd name="T64" fmla="*/ 1262 w 1801"/>
                  <a:gd name="T65" fmla="*/ 970 h 1367"/>
                  <a:gd name="T66" fmla="*/ 1308 w 1801"/>
                  <a:gd name="T67" fmla="*/ 995 h 1367"/>
                  <a:gd name="T68" fmla="*/ 1302 w 1801"/>
                  <a:gd name="T69" fmla="*/ 962 h 1367"/>
                  <a:gd name="T70" fmla="*/ 1315 w 1801"/>
                  <a:gd name="T71" fmla="*/ 970 h 1367"/>
                  <a:gd name="T72" fmla="*/ 1340 w 1801"/>
                  <a:gd name="T73" fmla="*/ 1055 h 1367"/>
                  <a:gd name="T74" fmla="*/ 1394 w 1801"/>
                  <a:gd name="T75" fmla="*/ 1105 h 1367"/>
                  <a:gd name="T76" fmla="*/ 1478 w 1801"/>
                  <a:gd name="T77" fmla="*/ 1197 h 1367"/>
                  <a:gd name="T78" fmla="*/ 1585 w 1801"/>
                  <a:gd name="T79" fmla="*/ 1309 h 1367"/>
                  <a:gd name="T80" fmla="*/ 1641 w 1801"/>
                  <a:gd name="T81" fmla="*/ 1335 h 1367"/>
                  <a:gd name="T82" fmla="*/ 1585 w 1801"/>
                  <a:gd name="T83" fmla="*/ 1329 h 1367"/>
                  <a:gd name="T84" fmla="*/ 1651 w 1801"/>
                  <a:gd name="T85" fmla="*/ 1353 h 1367"/>
                  <a:gd name="T86" fmla="*/ 1717 w 1801"/>
                  <a:gd name="T87" fmla="*/ 1329 h 1367"/>
                  <a:gd name="T88" fmla="*/ 1772 w 1801"/>
                  <a:gd name="T89" fmla="*/ 1287 h 1367"/>
                  <a:gd name="T90" fmla="*/ 1783 w 1801"/>
                  <a:gd name="T91" fmla="*/ 1169 h 1367"/>
                  <a:gd name="T92" fmla="*/ 1784 w 1801"/>
                  <a:gd name="T93" fmla="*/ 957 h 1367"/>
                  <a:gd name="T94" fmla="*/ 1570 w 1801"/>
                  <a:gd name="T95" fmla="*/ 574 h 1367"/>
                  <a:gd name="T96" fmla="*/ 1544 w 1801"/>
                  <a:gd name="T97" fmla="*/ 471 h 1367"/>
                  <a:gd name="T98" fmla="*/ 1329 w 1801"/>
                  <a:gd name="T99" fmla="*/ 58 h 1367"/>
                  <a:gd name="T100" fmla="*/ 1301 w 1801"/>
                  <a:gd name="T101" fmla="*/ 15 h 1367"/>
                  <a:gd name="T102" fmla="*/ 1195 w 1801"/>
                  <a:gd name="T103" fmla="*/ 27 h 1367"/>
                  <a:gd name="T104" fmla="*/ 1172 w 1801"/>
                  <a:gd name="T105" fmla="*/ 116 h 1367"/>
                  <a:gd name="T106" fmla="*/ 596 w 1801"/>
                  <a:gd name="T107" fmla="*/ 108 h 1367"/>
                  <a:gd name="T108" fmla="*/ 4 w 1801"/>
                  <a:gd name="T109" fmla="*/ 91 h 13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01"/>
                  <a:gd name="T166" fmla="*/ 0 h 1367"/>
                  <a:gd name="T167" fmla="*/ 1801 w 1801"/>
                  <a:gd name="T168" fmla="*/ 1367 h 13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01" h="1367">
                    <a:moveTo>
                      <a:pt x="4" y="91"/>
                    </a:moveTo>
                    <a:lnTo>
                      <a:pt x="0" y="130"/>
                    </a:lnTo>
                    <a:lnTo>
                      <a:pt x="52" y="180"/>
                    </a:lnTo>
                    <a:lnTo>
                      <a:pt x="43" y="209"/>
                    </a:lnTo>
                    <a:lnTo>
                      <a:pt x="60" y="228"/>
                    </a:lnTo>
                    <a:lnTo>
                      <a:pt x="38" y="263"/>
                    </a:lnTo>
                    <a:lnTo>
                      <a:pt x="77" y="246"/>
                    </a:lnTo>
                    <a:lnTo>
                      <a:pt x="102" y="222"/>
                    </a:lnTo>
                    <a:lnTo>
                      <a:pt x="99" y="194"/>
                    </a:lnTo>
                    <a:lnTo>
                      <a:pt x="117" y="212"/>
                    </a:lnTo>
                    <a:lnTo>
                      <a:pt x="134" y="187"/>
                    </a:lnTo>
                    <a:lnTo>
                      <a:pt x="149" y="208"/>
                    </a:lnTo>
                    <a:lnTo>
                      <a:pt x="108" y="240"/>
                    </a:lnTo>
                    <a:lnTo>
                      <a:pt x="225" y="214"/>
                    </a:lnTo>
                    <a:lnTo>
                      <a:pt x="248" y="189"/>
                    </a:lnTo>
                    <a:lnTo>
                      <a:pt x="264" y="199"/>
                    </a:lnTo>
                    <a:lnTo>
                      <a:pt x="307" y="188"/>
                    </a:lnTo>
                    <a:lnTo>
                      <a:pt x="330" y="202"/>
                    </a:lnTo>
                    <a:lnTo>
                      <a:pt x="249" y="212"/>
                    </a:lnTo>
                    <a:lnTo>
                      <a:pt x="274" y="220"/>
                    </a:lnTo>
                    <a:lnTo>
                      <a:pt x="364" y="239"/>
                    </a:lnTo>
                    <a:lnTo>
                      <a:pt x="420" y="269"/>
                    </a:lnTo>
                    <a:lnTo>
                      <a:pt x="404" y="227"/>
                    </a:lnTo>
                    <a:lnTo>
                      <a:pt x="430" y="260"/>
                    </a:lnTo>
                    <a:lnTo>
                      <a:pt x="468" y="265"/>
                    </a:lnTo>
                    <a:lnTo>
                      <a:pt x="435" y="274"/>
                    </a:lnTo>
                    <a:lnTo>
                      <a:pt x="498" y="307"/>
                    </a:lnTo>
                    <a:lnTo>
                      <a:pt x="520" y="334"/>
                    </a:lnTo>
                    <a:lnTo>
                      <a:pt x="519" y="365"/>
                    </a:lnTo>
                    <a:lnTo>
                      <a:pt x="494" y="327"/>
                    </a:lnTo>
                    <a:lnTo>
                      <a:pt x="508" y="375"/>
                    </a:lnTo>
                    <a:lnTo>
                      <a:pt x="557" y="357"/>
                    </a:lnTo>
                    <a:lnTo>
                      <a:pt x="588" y="354"/>
                    </a:lnTo>
                    <a:lnTo>
                      <a:pt x="609" y="332"/>
                    </a:lnTo>
                    <a:lnTo>
                      <a:pt x="617" y="346"/>
                    </a:lnTo>
                    <a:lnTo>
                      <a:pt x="682" y="298"/>
                    </a:lnTo>
                    <a:lnTo>
                      <a:pt x="724" y="295"/>
                    </a:lnTo>
                    <a:lnTo>
                      <a:pt x="709" y="279"/>
                    </a:lnTo>
                    <a:lnTo>
                      <a:pt x="739" y="241"/>
                    </a:lnTo>
                    <a:lnTo>
                      <a:pt x="801" y="238"/>
                    </a:lnTo>
                    <a:lnTo>
                      <a:pt x="869" y="271"/>
                    </a:lnTo>
                    <a:lnTo>
                      <a:pt x="906" y="319"/>
                    </a:lnTo>
                    <a:lnTo>
                      <a:pt x="939" y="328"/>
                    </a:lnTo>
                    <a:lnTo>
                      <a:pt x="948" y="365"/>
                    </a:lnTo>
                    <a:lnTo>
                      <a:pt x="989" y="385"/>
                    </a:lnTo>
                    <a:lnTo>
                      <a:pt x="1006" y="412"/>
                    </a:lnTo>
                    <a:lnTo>
                      <a:pt x="1028" y="434"/>
                    </a:lnTo>
                    <a:lnTo>
                      <a:pt x="1085" y="436"/>
                    </a:lnTo>
                    <a:lnTo>
                      <a:pt x="1107" y="474"/>
                    </a:lnTo>
                    <a:lnTo>
                      <a:pt x="1138" y="547"/>
                    </a:lnTo>
                    <a:lnTo>
                      <a:pt x="1121" y="682"/>
                    </a:lnTo>
                    <a:lnTo>
                      <a:pt x="1125" y="764"/>
                    </a:lnTo>
                    <a:lnTo>
                      <a:pt x="1162" y="789"/>
                    </a:lnTo>
                    <a:lnTo>
                      <a:pt x="1169" y="750"/>
                    </a:lnTo>
                    <a:lnTo>
                      <a:pt x="1144" y="737"/>
                    </a:lnTo>
                    <a:lnTo>
                      <a:pt x="1147" y="710"/>
                    </a:lnTo>
                    <a:lnTo>
                      <a:pt x="1158" y="717"/>
                    </a:lnTo>
                    <a:lnTo>
                      <a:pt x="1184" y="727"/>
                    </a:lnTo>
                    <a:lnTo>
                      <a:pt x="1191" y="753"/>
                    </a:lnTo>
                    <a:lnTo>
                      <a:pt x="1208" y="723"/>
                    </a:lnTo>
                    <a:lnTo>
                      <a:pt x="1222" y="749"/>
                    </a:lnTo>
                    <a:lnTo>
                      <a:pt x="1172" y="835"/>
                    </a:lnTo>
                    <a:lnTo>
                      <a:pt x="1170" y="851"/>
                    </a:lnTo>
                    <a:lnTo>
                      <a:pt x="1199" y="868"/>
                    </a:lnTo>
                    <a:lnTo>
                      <a:pt x="1227" y="936"/>
                    </a:lnTo>
                    <a:lnTo>
                      <a:pt x="1262" y="970"/>
                    </a:lnTo>
                    <a:lnTo>
                      <a:pt x="1280" y="995"/>
                    </a:lnTo>
                    <a:lnTo>
                      <a:pt x="1308" y="995"/>
                    </a:lnTo>
                    <a:lnTo>
                      <a:pt x="1279" y="955"/>
                    </a:lnTo>
                    <a:lnTo>
                      <a:pt x="1302" y="962"/>
                    </a:lnTo>
                    <a:lnTo>
                      <a:pt x="1329" y="953"/>
                    </a:lnTo>
                    <a:lnTo>
                      <a:pt x="1315" y="970"/>
                    </a:lnTo>
                    <a:lnTo>
                      <a:pt x="1327" y="1007"/>
                    </a:lnTo>
                    <a:lnTo>
                      <a:pt x="1340" y="1055"/>
                    </a:lnTo>
                    <a:lnTo>
                      <a:pt x="1384" y="1075"/>
                    </a:lnTo>
                    <a:lnTo>
                      <a:pt x="1394" y="1105"/>
                    </a:lnTo>
                    <a:lnTo>
                      <a:pt x="1431" y="1197"/>
                    </a:lnTo>
                    <a:lnTo>
                      <a:pt x="1478" y="1197"/>
                    </a:lnTo>
                    <a:lnTo>
                      <a:pt x="1518" y="1219"/>
                    </a:lnTo>
                    <a:lnTo>
                      <a:pt x="1585" y="1309"/>
                    </a:lnTo>
                    <a:lnTo>
                      <a:pt x="1640" y="1319"/>
                    </a:lnTo>
                    <a:lnTo>
                      <a:pt x="1641" y="1335"/>
                    </a:lnTo>
                    <a:lnTo>
                      <a:pt x="1628" y="1346"/>
                    </a:lnTo>
                    <a:lnTo>
                      <a:pt x="1585" y="1329"/>
                    </a:lnTo>
                    <a:lnTo>
                      <a:pt x="1599" y="1367"/>
                    </a:lnTo>
                    <a:lnTo>
                      <a:pt x="1651" y="1353"/>
                    </a:lnTo>
                    <a:lnTo>
                      <a:pt x="1693" y="1352"/>
                    </a:lnTo>
                    <a:lnTo>
                      <a:pt x="1717" y="1329"/>
                    </a:lnTo>
                    <a:lnTo>
                      <a:pt x="1752" y="1327"/>
                    </a:lnTo>
                    <a:lnTo>
                      <a:pt x="1772" y="1287"/>
                    </a:lnTo>
                    <a:lnTo>
                      <a:pt x="1765" y="1231"/>
                    </a:lnTo>
                    <a:lnTo>
                      <a:pt x="1783" y="1169"/>
                    </a:lnTo>
                    <a:lnTo>
                      <a:pt x="1801" y="1176"/>
                    </a:lnTo>
                    <a:lnTo>
                      <a:pt x="1784" y="957"/>
                    </a:lnTo>
                    <a:lnTo>
                      <a:pt x="1765" y="891"/>
                    </a:lnTo>
                    <a:lnTo>
                      <a:pt x="1570" y="574"/>
                    </a:lnTo>
                    <a:lnTo>
                      <a:pt x="1525" y="471"/>
                    </a:lnTo>
                    <a:lnTo>
                      <a:pt x="1544" y="471"/>
                    </a:lnTo>
                    <a:lnTo>
                      <a:pt x="1417" y="269"/>
                    </a:lnTo>
                    <a:lnTo>
                      <a:pt x="1329" y="58"/>
                    </a:lnTo>
                    <a:lnTo>
                      <a:pt x="1323" y="21"/>
                    </a:lnTo>
                    <a:lnTo>
                      <a:pt x="1301" y="15"/>
                    </a:lnTo>
                    <a:lnTo>
                      <a:pt x="1217" y="0"/>
                    </a:lnTo>
                    <a:lnTo>
                      <a:pt x="1195" y="27"/>
                    </a:lnTo>
                    <a:lnTo>
                      <a:pt x="1209" y="119"/>
                    </a:lnTo>
                    <a:lnTo>
                      <a:pt x="1172" y="116"/>
                    </a:lnTo>
                    <a:lnTo>
                      <a:pt x="1166" y="74"/>
                    </a:lnTo>
                    <a:lnTo>
                      <a:pt x="596" y="108"/>
                    </a:lnTo>
                    <a:lnTo>
                      <a:pt x="555" y="41"/>
                    </a:lnTo>
                    <a:lnTo>
                      <a:pt x="4" y="9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4" name="Freeform 37">
                <a:extLst>
                  <a:ext uri="{FF2B5EF4-FFF2-40B4-BE49-F238E27FC236}">
                    <a16:creationId xmlns:a16="http://schemas.microsoft.com/office/drawing/2014/main" id="{44E51311-9089-4F69-B0C0-C1DD7262D15F}"/>
                  </a:ext>
                </a:extLst>
              </p:cNvPr>
              <p:cNvSpPr>
                <a:spLocks/>
              </p:cNvSpPr>
              <p:nvPr/>
            </p:nvSpPr>
            <p:spPr bwMode="gray">
              <a:xfrm>
                <a:off x="4739584" y="4294141"/>
                <a:ext cx="43852" cy="30209"/>
              </a:xfrm>
              <a:custGeom>
                <a:avLst/>
                <a:gdLst>
                  <a:gd name="T0" fmla="*/ 0 w 91"/>
                  <a:gd name="T1" fmla="*/ 62 h 62"/>
                  <a:gd name="T2" fmla="*/ 5 w 91"/>
                  <a:gd name="T3" fmla="*/ 28 h 62"/>
                  <a:gd name="T4" fmla="*/ 36 w 91"/>
                  <a:gd name="T5" fmla="*/ 23 h 62"/>
                  <a:gd name="T6" fmla="*/ 40 w 91"/>
                  <a:gd name="T7" fmla="*/ 0 h 62"/>
                  <a:gd name="T8" fmla="*/ 91 w 91"/>
                  <a:gd name="T9" fmla="*/ 26 h 62"/>
                  <a:gd name="T10" fmla="*/ 41 w 91"/>
                  <a:gd name="T11" fmla="*/ 42 h 62"/>
                  <a:gd name="T12" fmla="*/ 16 w 91"/>
                  <a:gd name="T13" fmla="*/ 35 h 62"/>
                  <a:gd name="T14" fmla="*/ 25 w 91"/>
                  <a:gd name="T15" fmla="*/ 50 h 62"/>
                  <a:gd name="T16" fmla="*/ 0 w 91"/>
                  <a:gd name="T17" fmla="*/ 62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62"/>
                  <a:gd name="T29" fmla="*/ 91 w 91"/>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62">
                    <a:moveTo>
                      <a:pt x="0" y="62"/>
                    </a:moveTo>
                    <a:lnTo>
                      <a:pt x="5" y="28"/>
                    </a:lnTo>
                    <a:lnTo>
                      <a:pt x="36" y="23"/>
                    </a:lnTo>
                    <a:lnTo>
                      <a:pt x="40" y="0"/>
                    </a:lnTo>
                    <a:lnTo>
                      <a:pt x="91" y="26"/>
                    </a:lnTo>
                    <a:lnTo>
                      <a:pt x="41" y="42"/>
                    </a:lnTo>
                    <a:lnTo>
                      <a:pt x="16" y="35"/>
                    </a:lnTo>
                    <a:lnTo>
                      <a:pt x="25" y="50"/>
                    </a:lnTo>
                    <a:lnTo>
                      <a:pt x="0" y="6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5" name="Freeform 38">
                <a:extLst>
                  <a:ext uri="{FF2B5EF4-FFF2-40B4-BE49-F238E27FC236}">
                    <a16:creationId xmlns:a16="http://schemas.microsoft.com/office/drawing/2014/main" id="{203869B6-87D2-46DD-BFD5-5B1AB94DFB46}"/>
                  </a:ext>
                </a:extLst>
              </p:cNvPr>
              <p:cNvSpPr>
                <a:spLocks/>
              </p:cNvSpPr>
              <p:nvPr/>
            </p:nvSpPr>
            <p:spPr bwMode="gray">
              <a:xfrm>
                <a:off x="4801951" y="4275625"/>
                <a:ext cx="35082" cy="23388"/>
              </a:xfrm>
              <a:custGeom>
                <a:avLst/>
                <a:gdLst>
                  <a:gd name="T0" fmla="*/ 0 w 74"/>
                  <a:gd name="T1" fmla="*/ 44 h 46"/>
                  <a:gd name="T2" fmla="*/ 12 w 74"/>
                  <a:gd name="T3" fmla="*/ 46 h 46"/>
                  <a:gd name="T4" fmla="*/ 74 w 74"/>
                  <a:gd name="T5" fmla="*/ 0 h 46"/>
                  <a:gd name="T6" fmla="*/ 18 w 74"/>
                  <a:gd name="T7" fmla="*/ 33 h 46"/>
                  <a:gd name="T8" fmla="*/ 0 w 74"/>
                  <a:gd name="T9" fmla="*/ 44 h 46"/>
                  <a:gd name="T10" fmla="*/ 0 60000 65536"/>
                  <a:gd name="T11" fmla="*/ 0 60000 65536"/>
                  <a:gd name="T12" fmla="*/ 0 60000 65536"/>
                  <a:gd name="T13" fmla="*/ 0 60000 65536"/>
                  <a:gd name="T14" fmla="*/ 0 60000 65536"/>
                  <a:gd name="T15" fmla="*/ 0 w 74"/>
                  <a:gd name="T16" fmla="*/ 0 h 46"/>
                  <a:gd name="T17" fmla="*/ 74 w 74"/>
                  <a:gd name="T18" fmla="*/ 46 h 46"/>
                </a:gdLst>
                <a:ahLst/>
                <a:cxnLst>
                  <a:cxn ang="T10">
                    <a:pos x="T0" y="T1"/>
                  </a:cxn>
                  <a:cxn ang="T11">
                    <a:pos x="T2" y="T3"/>
                  </a:cxn>
                  <a:cxn ang="T12">
                    <a:pos x="T4" y="T5"/>
                  </a:cxn>
                  <a:cxn ang="T13">
                    <a:pos x="T6" y="T7"/>
                  </a:cxn>
                  <a:cxn ang="T14">
                    <a:pos x="T8" y="T9"/>
                  </a:cxn>
                </a:cxnLst>
                <a:rect l="T15" t="T16" r="T17" b="T18"/>
                <a:pathLst>
                  <a:path w="74" h="46">
                    <a:moveTo>
                      <a:pt x="0" y="44"/>
                    </a:moveTo>
                    <a:lnTo>
                      <a:pt x="12" y="46"/>
                    </a:lnTo>
                    <a:lnTo>
                      <a:pt x="74" y="0"/>
                    </a:lnTo>
                    <a:lnTo>
                      <a:pt x="18" y="33"/>
                    </a:lnTo>
                    <a:lnTo>
                      <a:pt x="0" y="4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6" name="Freeform 39">
                <a:extLst>
                  <a:ext uri="{FF2B5EF4-FFF2-40B4-BE49-F238E27FC236}">
                    <a16:creationId xmlns:a16="http://schemas.microsoft.com/office/drawing/2014/main" id="{F9209E37-D6AB-46FC-A38D-1A49505A68BA}"/>
                  </a:ext>
                </a:extLst>
              </p:cNvPr>
              <p:cNvSpPr>
                <a:spLocks/>
              </p:cNvSpPr>
              <p:nvPr/>
            </p:nvSpPr>
            <p:spPr bwMode="gray">
              <a:xfrm>
                <a:off x="4862370" y="4207411"/>
                <a:ext cx="24362" cy="44827"/>
              </a:xfrm>
              <a:custGeom>
                <a:avLst/>
                <a:gdLst>
                  <a:gd name="T0" fmla="*/ 0 w 49"/>
                  <a:gd name="T1" fmla="*/ 94 h 94"/>
                  <a:gd name="T2" fmla="*/ 26 w 49"/>
                  <a:gd name="T3" fmla="*/ 64 h 94"/>
                  <a:gd name="T4" fmla="*/ 49 w 49"/>
                  <a:gd name="T5" fmla="*/ 0 h 94"/>
                  <a:gd name="T6" fmla="*/ 33 w 49"/>
                  <a:gd name="T7" fmla="*/ 30 h 94"/>
                  <a:gd name="T8" fmla="*/ 0 w 49"/>
                  <a:gd name="T9" fmla="*/ 94 h 94"/>
                  <a:gd name="T10" fmla="*/ 0 60000 65536"/>
                  <a:gd name="T11" fmla="*/ 0 60000 65536"/>
                  <a:gd name="T12" fmla="*/ 0 60000 65536"/>
                  <a:gd name="T13" fmla="*/ 0 60000 65536"/>
                  <a:gd name="T14" fmla="*/ 0 60000 65536"/>
                  <a:gd name="T15" fmla="*/ 0 w 49"/>
                  <a:gd name="T16" fmla="*/ 0 h 94"/>
                  <a:gd name="T17" fmla="*/ 49 w 49"/>
                  <a:gd name="T18" fmla="*/ 94 h 94"/>
                </a:gdLst>
                <a:ahLst/>
                <a:cxnLst>
                  <a:cxn ang="T10">
                    <a:pos x="T0" y="T1"/>
                  </a:cxn>
                  <a:cxn ang="T11">
                    <a:pos x="T2" y="T3"/>
                  </a:cxn>
                  <a:cxn ang="T12">
                    <a:pos x="T4" y="T5"/>
                  </a:cxn>
                  <a:cxn ang="T13">
                    <a:pos x="T6" y="T7"/>
                  </a:cxn>
                  <a:cxn ang="T14">
                    <a:pos x="T8" y="T9"/>
                  </a:cxn>
                </a:cxnLst>
                <a:rect l="T15" t="T16" r="T17" b="T18"/>
                <a:pathLst>
                  <a:path w="49" h="94">
                    <a:moveTo>
                      <a:pt x="0" y="94"/>
                    </a:moveTo>
                    <a:lnTo>
                      <a:pt x="26" y="64"/>
                    </a:lnTo>
                    <a:lnTo>
                      <a:pt x="49" y="0"/>
                    </a:lnTo>
                    <a:lnTo>
                      <a:pt x="33" y="30"/>
                    </a:lnTo>
                    <a:lnTo>
                      <a:pt x="0" y="9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grpSp>
          <p:nvGrpSpPr>
            <p:cNvPr id="23" name="Group 109">
              <a:extLst>
                <a:ext uri="{FF2B5EF4-FFF2-40B4-BE49-F238E27FC236}">
                  <a16:creationId xmlns:a16="http://schemas.microsoft.com/office/drawing/2014/main" id="{46718811-44C3-442B-9307-773F0897BCE2}"/>
                </a:ext>
              </a:extLst>
            </p:cNvPr>
            <p:cNvGrpSpPr/>
            <p:nvPr/>
          </p:nvGrpSpPr>
          <p:grpSpPr bwMode="gray">
            <a:xfrm>
              <a:off x="1821959" y="3830284"/>
              <a:ext cx="566179" cy="396617"/>
              <a:chOff x="1821959" y="3830284"/>
              <a:chExt cx="566179" cy="396617"/>
            </a:xfrm>
            <a:grpFill/>
          </p:grpSpPr>
          <p:sp>
            <p:nvSpPr>
              <p:cNvPr id="77" name="Freeform 41">
                <a:extLst>
                  <a:ext uri="{FF2B5EF4-FFF2-40B4-BE49-F238E27FC236}">
                    <a16:creationId xmlns:a16="http://schemas.microsoft.com/office/drawing/2014/main" id="{DB9E756B-D28F-4AD0-A62B-D9DD70BDDA9B}"/>
                  </a:ext>
                </a:extLst>
              </p:cNvPr>
              <p:cNvSpPr>
                <a:spLocks/>
              </p:cNvSpPr>
              <p:nvPr/>
            </p:nvSpPr>
            <p:spPr bwMode="gray">
              <a:xfrm>
                <a:off x="1821959" y="3830284"/>
                <a:ext cx="57495" cy="45801"/>
              </a:xfrm>
              <a:custGeom>
                <a:avLst/>
                <a:gdLst>
                  <a:gd name="T0" fmla="*/ 0 w 117"/>
                  <a:gd name="T1" fmla="*/ 55 h 95"/>
                  <a:gd name="T2" fmla="*/ 43 w 117"/>
                  <a:gd name="T3" fmla="*/ 95 h 95"/>
                  <a:gd name="T4" fmla="*/ 67 w 117"/>
                  <a:gd name="T5" fmla="*/ 94 h 95"/>
                  <a:gd name="T6" fmla="*/ 105 w 117"/>
                  <a:gd name="T7" fmla="*/ 71 h 95"/>
                  <a:gd name="T8" fmla="*/ 117 w 117"/>
                  <a:gd name="T9" fmla="*/ 20 h 95"/>
                  <a:gd name="T10" fmla="*/ 91 w 117"/>
                  <a:gd name="T11" fmla="*/ 0 h 95"/>
                  <a:gd name="T12" fmla="*/ 56 w 117"/>
                  <a:gd name="T13" fmla="*/ 6 h 95"/>
                  <a:gd name="T14" fmla="*/ 0 w 117"/>
                  <a:gd name="T15" fmla="*/ 55 h 95"/>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95"/>
                  <a:gd name="T26" fmla="*/ 117 w 117"/>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95">
                    <a:moveTo>
                      <a:pt x="0" y="55"/>
                    </a:moveTo>
                    <a:lnTo>
                      <a:pt x="43" y="95"/>
                    </a:lnTo>
                    <a:lnTo>
                      <a:pt x="67" y="94"/>
                    </a:lnTo>
                    <a:lnTo>
                      <a:pt x="105" y="71"/>
                    </a:lnTo>
                    <a:lnTo>
                      <a:pt x="117" y="20"/>
                    </a:lnTo>
                    <a:lnTo>
                      <a:pt x="91" y="0"/>
                    </a:lnTo>
                    <a:lnTo>
                      <a:pt x="56" y="6"/>
                    </a:lnTo>
                    <a:lnTo>
                      <a:pt x="0" y="55"/>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78" name="Freeform 42">
                <a:extLst>
                  <a:ext uri="{FF2B5EF4-FFF2-40B4-BE49-F238E27FC236}">
                    <a16:creationId xmlns:a16="http://schemas.microsoft.com/office/drawing/2014/main" id="{5452B95B-9A17-4CA8-AE08-7268C75D8FE0}"/>
                  </a:ext>
                </a:extLst>
              </p:cNvPr>
              <p:cNvSpPr>
                <a:spLocks/>
              </p:cNvSpPr>
              <p:nvPr/>
            </p:nvSpPr>
            <p:spPr bwMode="gray">
              <a:xfrm>
                <a:off x="1996393" y="3896549"/>
                <a:ext cx="65291" cy="55546"/>
              </a:xfrm>
              <a:custGeom>
                <a:avLst/>
                <a:gdLst>
                  <a:gd name="T0" fmla="*/ 0 w 134"/>
                  <a:gd name="T1" fmla="*/ 30 h 115"/>
                  <a:gd name="T2" fmla="*/ 29 w 134"/>
                  <a:gd name="T3" fmla="*/ 96 h 115"/>
                  <a:gd name="T4" fmla="*/ 59 w 134"/>
                  <a:gd name="T5" fmla="*/ 95 h 115"/>
                  <a:gd name="T6" fmla="*/ 62 w 134"/>
                  <a:gd name="T7" fmla="*/ 76 h 115"/>
                  <a:gd name="T8" fmla="*/ 102 w 134"/>
                  <a:gd name="T9" fmla="*/ 115 h 115"/>
                  <a:gd name="T10" fmla="*/ 134 w 134"/>
                  <a:gd name="T11" fmla="*/ 109 h 115"/>
                  <a:gd name="T12" fmla="*/ 127 w 134"/>
                  <a:gd name="T13" fmla="*/ 71 h 115"/>
                  <a:gd name="T14" fmla="*/ 97 w 134"/>
                  <a:gd name="T15" fmla="*/ 62 h 115"/>
                  <a:gd name="T16" fmla="*/ 71 w 134"/>
                  <a:gd name="T17" fmla="*/ 0 h 115"/>
                  <a:gd name="T18" fmla="*/ 0 w 134"/>
                  <a:gd name="T19" fmla="*/ 3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15"/>
                  <a:gd name="T32" fmla="*/ 134 w 13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15">
                    <a:moveTo>
                      <a:pt x="0" y="30"/>
                    </a:moveTo>
                    <a:lnTo>
                      <a:pt x="29" y="96"/>
                    </a:lnTo>
                    <a:lnTo>
                      <a:pt x="59" y="95"/>
                    </a:lnTo>
                    <a:lnTo>
                      <a:pt x="62" y="76"/>
                    </a:lnTo>
                    <a:lnTo>
                      <a:pt x="102" y="115"/>
                    </a:lnTo>
                    <a:lnTo>
                      <a:pt x="134" y="109"/>
                    </a:lnTo>
                    <a:lnTo>
                      <a:pt x="127" y="71"/>
                    </a:lnTo>
                    <a:lnTo>
                      <a:pt x="97" y="62"/>
                    </a:lnTo>
                    <a:lnTo>
                      <a:pt x="71" y="0"/>
                    </a:lnTo>
                    <a:lnTo>
                      <a:pt x="0" y="3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79" name="Freeform 43">
                <a:extLst>
                  <a:ext uri="{FF2B5EF4-FFF2-40B4-BE49-F238E27FC236}">
                    <a16:creationId xmlns:a16="http://schemas.microsoft.com/office/drawing/2014/main" id="{C4D4ABBC-70FE-4F8F-90A5-120DAF4C4E23}"/>
                  </a:ext>
                </a:extLst>
              </p:cNvPr>
              <p:cNvSpPr>
                <a:spLocks/>
              </p:cNvSpPr>
              <p:nvPr/>
            </p:nvSpPr>
            <p:spPr bwMode="gray">
              <a:xfrm>
                <a:off x="2101638" y="3955018"/>
                <a:ext cx="67240" cy="18515"/>
              </a:xfrm>
              <a:custGeom>
                <a:avLst/>
                <a:gdLst>
                  <a:gd name="T0" fmla="*/ 0 w 138"/>
                  <a:gd name="T1" fmla="*/ 31 h 37"/>
                  <a:gd name="T2" fmla="*/ 15 w 138"/>
                  <a:gd name="T3" fmla="*/ 0 h 37"/>
                  <a:gd name="T4" fmla="*/ 138 w 138"/>
                  <a:gd name="T5" fmla="*/ 13 h 37"/>
                  <a:gd name="T6" fmla="*/ 112 w 138"/>
                  <a:gd name="T7" fmla="*/ 37 h 37"/>
                  <a:gd name="T8" fmla="*/ 0 w 138"/>
                  <a:gd name="T9" fmla="*/ 31 h 37"/>
                  <a:gd name="T10" fmla="*/ 0 60000 65536"/>
                  <a:gd name="T11" fmla="*/ 0 60000 65536"/>
                  <a:gd name="T12" fmla="*/ 0 60000 65536"/>
                  <a:gd name="T13" fmla="*/ 0 60000 65536"/>
                  <a:gd name="T14" fmla="*/ 0 60000 65536"/>
                  <a:gd name="T15" fmla="*/ 0 w 138"/>
                  <a:gd name="T16" fmla="*/ 0 h 37"/>
                  <a:gd name="T17" fmla="*/ 138 w 138"/>
                  <a:gd name="T18" fmla="*/ 37 h 37"/>
                </a:gdLst>
                <a:ahLst/>
                <a:cxnLst>
                  <a:cxn ang="T10">
                    <a:pos x="T0" y="T1"/>
                  </a:cxn>
                  <a:cxn ang="T11">
                    <a:pos x="T2" y="T3"/>
                  </a:cxn>
                  <a:cxn ang="T12">
                    <a:pos x="T4" y="T5"/>
                  </a:cxn>
                  <a:cxn ang="T13">
                    <a:pos x="T6" y="T7"/>
                  </a:cxn>
                  <a:cxn ang="T14">
                    <a:pos x="T8" y="T9"/>
                  </a:cxn>
                </a:cxnLst>
                <a:rect l="T15" t="T16" r="T17" b="T18"/>
                <a:pathLst>
                  <a:path w="138" h="37">
                    <a:moveTo>
                      <a:pt x="0" y="31"/>
                    </a:moveTo>
                    <a:lnTo>
                      <a:pt x="15" y="0"/>
                    </a:lnTo>
                    <a:lnTo>
                      <a:pt x="138" y="13"/>
                    </a:lnTo>
                    <a:lnTo>
                      <a:pt x="112" y="37"/>
                    </a:lnTo>
                    <a:lnTo>
                      <a:pt x="0" y="3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0" name="Freeform 44">
                <a:extLst>
                  <a:ext uri="{FF2B5EF4-FFF2-40B4-BE49-F238E27FC236}">
                    <a16:creationId xmlns:a16="http://schemas.microsoft.com/office/drawing/2014/main" id="{A93ABE30-CA17-4E0F-987C-5C79C5A1EA8C}"/>
                  </a:ext>
                </a:extLst>
              </p:cNvPr>
              <p:cNvSpPr>
                <a:spLocks/>
              </p:cNvSpPr>
              <p:nvPr/>
            </p:nvSpPr>
            <p:spPr bwMode="gray">
              <a:xfrm>
                <a:off x="2131847" y="3992049"/>
                <a:ext cx="26311" cy="19490"/>
              </a:xfrm>
              <a:custGeom>
                <a:avLst/>
                <a:gdLst>
                  <a:gd name="T0" fmla="*/ 0 w 56"/>
                  <a:gd name="T1" fmla="*/ 0 h 40"/>
                  <a:gd name="T2" fmla="*/ 20 w 56"/>
                  <a:gd name="T3" fmla="*/ 40 h 40"/>
                  <a:gd name="T4" fmla="*/ 56 w 56"/>
                  <a:gd name="T5" fmla="*/ 23 h 40"/>
                  <a:gd name="T6" fmla="*/ 38 w 56"/>
                  <a:gd name="T7" fmla="*/ 0 h 40"/>
                  <a:gd name="T8" fmla="*/ 0 w 56"/>
                  <a:gd name="T9" fmla="*/ 0 h 40"/>
                  <a:gd name="T10" fmla="*/ 0 60000 65536"/>
                  <a:gd name="T11" fmla="*/ 0 60000 65536"/>
                  <a:gd name="T12" fmla="*/ 0 60000 65536"/>
                  <a:gd name="T13" fmla="*/ 0 60000 65536"/>
                  <a:gd name="T14" fmla="*/ 0 60000 65536"/>
                  <a:gd name="T15" fmla="*/ 0 w 56"/>
                  <a:gd name="T16" fmla="*/ 0 h 40"/>
                  <a:gd name="T17" fmla="*/ 56 w 56"/>
                  <a:gd name="T18" fmla="*/ 40 h 40"/>
                </a:gdLst>
                <a:ahLst/>
                <a:cxnLst>
                  <a:cxn ang="T10">
                    <a:pos x="T0" y="T1"/>
                  </a:cxn>
                  <a:cxn ang="T11">
                    <a:pos x="T2" y="T3"/>
                  </a:cxn>
                  <a:cxn ang="T12">
                    <a:pos x="T4" y="T5"/>
                  </a:cxn>
                  <a:cxn ang="T13">
                    <a:pos x="T6" y="T7"/>
                  </a:cxn>
                  <a:cxn ang="T14">
                    <a:pos x="T8" y="T9"/>
                  </a:cxn>
                </a:cxnLst>
                <a:rect l="T15" t="T16" r="T17" b="T18"/>
                <a:pathLst>
                  <a:path w="56" h="40">
                    <a:moveTo>
                      <a:pt x="0" y="0"/>
                    </a:moveTo>
                    <a:lnTo>
                      <a:pt x="20" y="40"/>
                    </a:lnTo>
                    <a:lnTo>
                      <a:pt x="56" y="23"/>
                    </a:lnTo>
                    <a:lnTo>
                      <a:pt x="38" y="0"/>
                    </a:lnTo>
                    <a:lnTo>
                      <a:pt x="0" y="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1" name="Freeform 45">
                <a:extLst>
                  <a:ext uri="{FF2B5EF4-FFF2-40B4-BE49-F238E27FC236}">
                    <a16:creationId xmlns:a16="http://schemas.microsoft.com/office/drawing/2014/main" id="{6BF66294-D8BE-4C1B-B314-D3B85C73B050}"/>
                  </a:ext>
                </a:extLst>
              </p:cNvPr>
              <p:cNvSpPr>
                <a:spLocks/>
              </p:cNvSpPr>
              <p:nvPr/>
            </p:nvSpPr>
            <p:spPr bwMode="gray">
              <a:xfrm>
                <a:off x="2170827" y="3975482"/>
                <a:ext cx="84780" cy="50674"/>
              </a:xfrm>
              <a:custGeom>
                <a:avLst/>
                <a:gdLst>
                  <a:gd name="T0" fmla="*/ 0 w 172"/>
                  <a:gd name="T1" fmla="*/ 27 h 104"/>
                  <a:gd name="T2" fmla="*/ 22 w 172"/>
                  <a:gd name="T3" fmla="*/ 0 h 104"/>
                  <a:gd name="T4" fmla="*/ 47 w 172"/>
                  <a:gd name="T5" fmla="*/ 27 h 104"/>
                  <a:gd name="T6" fmla="*/ 106 w 172"/>
                  <a:gd name="T7" fmla="*/ 22 h 104"/>
                  <a:gd name="T8" fmla="*/ 172 w 172"/>
                  <a:gd name="T9" fmla="*/ 68 h 104"/>
                  <a:gd name="T10" fmla="*/ 148 w 172"/>
                  <a:gd name="T11" fmla="*/ 90 h 104"/>
                  <a:gd name="T12" fmla="*/ 68 w 172"/>
                  <a:gd name="T13" fmla="*/ 104 h 104"/>
                  <a:gd name="T14" fmla="*/ 54 w 172"/>
                  <a:gd name="T15" fmla="*/ 58 h 104"/>
                  <a:gd name="T16" fmla="*/ 23 w 172"/>
                  <a:gd name="T17" fmla="*/ 58 h 104"/>
                  <a:gd name="T18" fmla="*/ 0 w 172"/>
                  <a:gd name="T19" fmla="*/ 2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104"/>
                  <a:gd name="T32" fmla="*/ 172 w 17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104">
                    <a:moveTo>
                      <a:pt x="0" y="27"/>
                    </a:moveTo>
                    <a:lnTo>
                      <a:pt x="22" y="0"/>
                    </a:lnTo>
                    <a:lnTo>
                      <a:pt x="47" y="27"/>
                    </a:lnTo>
                    <a:lnTo>
                      <a:pt x="106" y="22"/>
                    </a:lnTo>
                    <a:lnTo>
                      <a:pt x="172" y="68"/>
                    </a:lnTo>
                    <a:lnTo>
                      <a:pt x="148" y="90"/>
                    </a:lnTo>
                    <a:lnTo>
                      <a:pt x="68" y="104"/>
                    </a:lnTo>
                    <a:lnTo>
                      <a:pt x="54" y="58"/>
                    </a:lnTo>
                    <a:lnTo>
                      <a:pt x="23" y="58"/>
                    </a:lnTo>
                    <a:lnTo>
                      <a:pt x="0" y="2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2" name="Freeform 46">
                <a:extLst>
                  <a:ext uri="{FF2B5EF4-FFF2-40B4-BE49-F238E27FC236}">
                    <a16:creationId xmlns:a16="http://schemas.microsoft.com/office/drawing/2014/main" id="{91F7DE74-2056-40E1-AE44-8DAE35D47520}"/>
                  </a:ext>
                </a:extLst>
              </p:cNvPr>
              <p:cNvSpPr>
                <a:spLocks/>
              </p:cNvSpPr>
              <p:nvPr/>
            </p:nvSpPr>
            <p:spPr bwMode="gray">
              <a:xfrm>
                <a:off x="2246837" y="4067085"/>
                <a:ext cx="141301" cy="159816"/>
              </a:xfrm>
              <a:custGeom>
                <a:avLst/>
                <a:gdLst>
                  <a:gd name="T0" fmla="*/ 0 w 289"/>
                  <a:gd name="T1" fmla="*/ 129 h 329"/>
                  <a:gd name="T2" fmla="*/ 39 w 289"/>
                  <a:gd name="T3" fmla="*/ 220 h 329"/>
                  <a:gd name="T4" fmla="*/ 33 w 289"/>
                  <a:gd name="T5" fmla="*/ 292 h 329"/>
                  <a:gd name="T6" fmla="*/ 93 w 289"/>
                  <a:gd name="T7" fmla="*/ 329 h 329"/>
                  <a:gd name="T8" fmla="*/ 127 w 289"/>
                  <a:gd name="T9" fmla="*/ 273 h 329"/>
                  <a:gd name="T10" fmla="*/ 250 w 289"/>
                  <a:gd name="T11" fmla="*/ 222 h 329"/>
                  <a:gd name="T12" fmla="*/ 289 w 289"/>
                  <a:gd name="T13" fmla="*/ 182 h 329"/>
                  <a:gd name="T14" fmla="*/ 189 w 289"/>
                  <a:gd name="T15" fmla="*/ 66 h 329"/>
                  <a:gd name="T16" fmla="*/ 47 w 289"/>
                  <a:gd name="T17" fmla="*/ 0 h 329"/>
                  <a:gd name="T18" fmla="*/ 34 w 289"/>
                  <a:gd name="T19" fmla="*/ 20 h 329"/>
                  <a:gd name="T20" fmla="*/ 50 w 289"/>
                  <a:gd name="T21" fmla="*/ 69 h 329"/>
                  <a:gd name="T22" fmla="*/ 0 w 289"/>
                  <a:gd name="T23" fmla="*/ 129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329"/>
                  <a:gd name="T38" fmla="*/ 289 w 289"/>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329">
                    <a:moveTo>
                      <a:pt x="0" y="129"/>
                    </a:moveTo>
                    <a:lnTo>
                      <a:pt x="39" y="220"/>
                    </a:lnTo>
                    <a:lnTo>
                      <a:pt x="33" y="292"/>
                    </a:lnTo>
                    <a:lnTo>
                      <a:pt x="93" y="329"/>
                    </a:lnTo>
                    <a:lnTo>
                      <a:pt x="127" y="273"/>
                    </a:lnTo>
                    <a:lnTo>
                      <a:pt x="250" y="222"/>
                    </a:lnTo>
                    <a:lnTo>
                      <a:pt x="289" y="182"/>
                    </a:lnTo>
                    <a:lnTo>
                      <a:pt x="189" y="66"/>
                    </a:lnTo>
                    <a:lnTo>
                      <a:pt x="47" y="0"/>
                    </a:lnTo>
                    <a:lnTo>
                      <a:pt x="34" y="20"/>
                    </a:lnTo>
                    <a:lnTo>
                      <a:pt x="50" y="69"/>
                    </a:lnTo>
                    <a:lnTo>
                      <a:pt x="0" y="12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24" name="Freeform 47">
              <a:extLst>
                <a:ext uri="{FF2B5EF4-FFF2-40B4-BE49-F238E27FC236}">
                  <a16:creationId xmlns:a16="http://schemas.microsoft.com/office/drawing/2014/main" id="{4BCA6F2B-6087-48D5-9484-A1C31F30D6B9}"/>
                </a:ext>
              </a:extLst>
            </p:cNvPr>
            <p:cNvSpPr>
              <a:spLocks/>
            </p:cNvSpPr>
            <p:nvPr/>
          </p:nvSpPr>
          <p:spPr bwMode="gray">
            <a:xfrm>
              <a:off x="1267474" y="1261527"/>
              <a:ext cx="577873" cy="934536"/>
            </a:xfrm>
            <a:custGeom>
              <a:avLst/>
              <a:gdLst>
                <a:gd name="T0" fmla="*/ 0 w 1185"/>
                <a:gd name="T1" fmla="*/ 1699 h 1916"/>
                <a:gd name="T2" fmla="*/ 94 w 1185"/>
                <a:gd name="T3" fmla="*/ 1290 h 1916"/>
                <a:gd name="T4" fmla="*/ 142 w 1185"/>
                <a:gd name="T5" fmla="*/ 1181 h 1916"/>
                <a:gd name="T6" fmla="*/ 99 w 1185"/>
                <a:gd name="T7" fmla="*/ 1129 h 1916"/>
                <a:gd name="T8" fmla="*/ 110 w 1185"/>
                <a:gd name="T9" fmla="*/ 1082 h 1916"/>
                <a:gd name="T10" fmla="*/ 185 w 1185"/>
                <a:gd name="T11" fmla="*/ 1011 h 1916"/>
                <a:gd name="T12" fmla="*/ 246 w 1185"/>
                <a:gd name="T13" fmla="*/ 915 h 1916"/>
                <a:gd name="T14" fmla="*/ 301 w 1185"/>
                <a:gd name="T15" fmla="*/ 832 h 1916"/>
                <a:gd name="T16" fmla="*/ 260 w 1185"/>
                <a:gd name="T17" fmla="*/ 769 h 1916"/>
                <a:gd name="T18" fmla="*/ 242 w 1185"/>
                <a:gd name="T19" fmla="*/ 726 h 1916"/>
                <a:gd name="T20" fmla="*/ 249 w 1185"/>
                <a:gd name="T21" fmla="*/ 620 h 1916"/>
                <a:gd name="T22" fmla="*/ 393 w 1185"/>
                <a:gd name="T23" fmla="*/ 0 h 1916"/>
                <a:gd name="T24" fmla="*/ 552 w 1185"/>
                <a:gd name="T25" fmla="*/ 35 h 1916"/>
                <a:gd name="T26" fmla="*/ 499 w 1185"/>
                <a:gd name="T27" fmla="*/ 276 h 1916"/>
                <a:gd name="T28" fmla="*/ 534 w 1185"/>
                <a:gd name="T29" fmla="*/ 363 h 1916"/>
                <a:gd name="T30" fmla="*/ 538 w 1185"/>
                <a:gd name="T31" fmla="*/ 417 h 1916"/>
                <a:gd name="T32" fmla="*/ 519 w 1185"/>
                <a:gd name="T33" fmla="*/ 425 h 1916"/>
                <a:gd name="T34" fmla="*/ 580 w 1185"/>
                <a:gd name="T35" fmla="*/ 484 h 1916"/>
                <a:gd name="T36" fmla="*/ 642 w 1185"/>
                <a:gd name="T37" fmla="*/ 638 h 1916"/>
                <a:gd name="T38" fmla="*/ 664 w 1185"/>
                <a:gd name="T39" fmla="*/ 632 h 1916"/>
                <a:gd name="T40" fmla="*/ 666 w 1185"/>
                <a:gd name="T41" fmla="*/ 654 h 1916"/>
                <a:gd name="T42" fmla="*/ 696 w 1185"/>
                <a:gd name="T43" fmla="*/ 663 h 1916"/>
                <a:gd name="T44" fmla="*/ 718 w 1185"/>
                <a:gd name="T45" fmla="*/ 666 h 1916"/>
                <a:gd name="T46" fmla="*/ 663 w 1185"/>
                <a:gd name="T47" fmla="*/ 778 h 1916"/>
                <a:gd name="T48" fmla="*/ 672 w 1185"/>
                <a:gd name="T49" fmla="*/ 852 h 1916"/>
                <a:gd name="T50" fmla="*/ 627 w 1185"/>
                <a:gd name="T51" fmla="*/ 924 h 1916"/>
                <a:gd name="T52" fmla="*/ 658 w 1185"/>
                <a:gd name="T53" fmla="*/ 956 h 1916"/>
                <a:gd name="T54" fmla="*/ 738 w 1185"/>
                <a:gd name="T55" fmla="*/ 911 h 1916"/>
                <a:gd name="T56" fmla="*/ 796 w 1185"/>
                <a:gd name="T57" fmla="*/ 1154 h 1916"/>
                <a:gd name="T58" fmla="*/ 833 w 1185"/>
                <a:gd name="T59" fmla="*/ 1166 h 1916"/>
                <a:gd name="T60" fmla="*/ 840 w 1185"/>
                <a:gd name="T61" fmla="*/ 1240 h 1916"/>
                <a:gd name="T62" fmla="*/ 871 w 1185"/>
                <a:gd name="T63" fmla="*/ 1271 h 1916"/>
                <a:gd name="T64" fmla="*/ 894 w 1185"/>
                <a:gd name="T65" fmla="*/ 1244 h 1916"/>
                <a:gd name="T66" fmla="*/ 948 w 1185"/>
                <a:gd name="T67" fmla="*/ 1268 h 1916"/>
                <a:gd name="T68" fmla="*/ 981 w 1185"/>
                <a:gd name="T69" fmla="*/ 1242 h 1916"/>
                <a:gd name="T70" fmla="*/ 1089 w 1185"/>
                <a:gd name="T71" fmla="*/ 1263 h 1916"/>
                <a:gd name="T72" fmla="*/ 1115 w 1185"/>
                <a:gd name="T73" fmla="*/ 1269 h 1916"/>
                <a:gd name="T74" fmla="*/ 1139 w 1185"/>
                <a:gd name="T75" fmla="*/ 1220 h 1916"/>
                <a:gd name="T76" fmla="*/ 1185 w 1185"/>
                <a:gd name="T77" fmla="*/ 1298 h 1916"/>
                <a:gd name="T78" fmla="*/ 1085 w 1185"/>
                <a:gd name="T79" fmla="*/ 1916 h 1916"/>
                <a:gd name="T80" fmla="*/ 539 w 1185"/>
                <a:gd name="T81" fmla="*/ 1816 h 1916"/>
                <a:gd name="T82" fmla="*/ 0 w 1185"/>
                <a:gd name="T83" fmla="*/ 1699 h 1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85"/>
                <a:gd name="T127" fmla="*/ 0 h 1916"/>
                <a:gd name="T128" fmla="*/ 1185 w 1185"/>
                <a:gd name="T129" fmla="*/ 1916 h 1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85" h="1916">
                  <a:moveTo>
                    <a:pt x="0" y="1699"/>
                  </a:moveTo>
                  <a:lnTo>
                    <a:pt x="94" y="1290"/>
                  </a:lnTo>
                  <a:lnTo>
                    <a:pt x="142" y="1181"/>
                  </a:lnTo>
                  <a:lnTo>
                    <a:pt x="99" y="1129"/>
                  </a:lnTo>
                  <a:lnTo>
                    <a:pt x="110" y="1082"/>
                  </a:lnTo>
                  <a:lnTo>
                    <a:pt x="185" y="1011"/>
                  </a:lnTo>
                  <a:lnTo>
                    <a:pt x="246" y="915"/>
                  </a:lnTo>
                  <a:lnTo>
                    <a:pt x="301" y="832"/>
                  </a:lnTo>
                  <a:lnTo>
                    <a:pt x="260" y="769"/>
                  </a:lnTo>
                  <a:lnTo>
                    <a:pt x="242" y="726"/>
                  </a:lnTo>
                  <a:lnTo>
                    <a:pt x="249" y="620"/>
                  </a:lnTo>
                  <a:lnTo>
                    <a:pt x="393" y="0"/>
                  </a:lnTo>
                  <a:lnTo>
                    <a:pt x="552" y="35"/>
                  </a:lnTo>
                  <a:lnTo>
                    <a:pt x="499" y="276"/>
                  </a:lnTo>
                  <a:lnTo>
                    <a:pt x="534" y="363"/>
                  </a:lnTo>
                  <a:lnTo>
                    <a:pt x="538" y="417"/>
                  </a:lnTo>
                  <a:lnTo>
                    <a:pt x="519" y="425"/>
                  </a:lnTo>
                  <a:lnTo>
                    <a:pt x="580" y="484"/>
                  </a:lnTo>
                  <a:lnTo>
                    <a:pt x="642" y="638"/>
                  </a:lnTo>
                  <a:lnTo>
                    <a:pt x="664" y="632"/>
                  </a:lnTo>
                  <a:lnTo>
                    <a:pt x="666" y="654"/>
                  </a:lnTo>
                  <a:lnTo>
                    <a:pt x="696" y="663"/>
                  </a:lnTo>
                  <a:lnTo>
                    <a:pt x="718" y="666"/>
                  </a:lnTo>
                  <a:lnTo>
                    <a:pt x="663" y="778"/>
                  </a:lnTo>
                  <a:lnTo>
                    <a:pt x="672" y="852"/>
                  </a:lnTo>
                  <a:lnTo>
                    <a:pt x="627" y="924"/>
                  </a:lnTo>
                  <a:lnTo>
                    <a:pt x="658" y="956"/>
                  </a:lnTo>
                  <a:lnTo>
                    <a:pt x="738" y="911"/>
                  </a:lnTo>
                  <a:lnTo>
                    <a:pt x="796" y="1154"/>
                  </a:lnTo>
                  <a:lnTo>
                    <a:pt x="833" y="1166"/>
                  </a:lnTo>
                  <a:lnTo>
                    <a:pt x="840" y="1240"/>
                  </a:lnTo>
                  <a:lnTo>
                    <a:pt x="871" y="1271"/>
                  </a:lnTo>
                  <a:lnTo>
                    <a:pt x="894" y="1244"/>
                  </a:lnTo>
                  <a:lnTo>
                    <a:pt x="948" y="1268"/>
                  </a:lnTo>
                  <a:lnTo>
                    <a:pt x="981" y="1242"/>
                  </a:lnTo>
                  <a:lnTo>
                    <a:pt x="1089" y="1263"/>
                  </a:lnTo>
                  <a:lnTo>
                    <a:pt x="1115" y="1269"/>
                  </a:lnTo>
                  <a:lnTo>
                    <a:pt x="1139" y="1220"/>
                  </a:lnTo>
                  <a:lnTo>
                    <a:pt x="1185" y="1298"/>
                  </a:lnTo>
                  <a:lnTo>
                    <a:pt x="1085" y="1916"/>
                  </a:lnTo>
                  <a:lnTo>
                    <a:pt x="539" y="1816"/>
                  </a:lnTo>
                  <a:lnTo>
                    <a:pt x="0" y="169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5" name="Freeform 48">
              <a:extLst>
                <a:ext uri="{FF2B5EF4-FFF2-40B4-BE49-F238E27FC236}">
                  <a16:creationId xmlns:a16="http://schemas.microsoft.com/office/drawing/2014/main" id="{AA46ED7A-BE92-4366-B3C8-CB0F2C15EEC9}"/>
                </a:ext>
              </a:extLst>
            </p:cNvPr>
            <p:cNvSpPr>
              <a:spLocks/>
            </p:cNvSpPr>
            <p:nvPr/>
          </p:nvSpPr>
          <p:spPr bwMode="gray">
            <a:xfrm>
              <a:off x="3562400" y="2220425"/>
              <a:ext cx="379077" cy="683117"/>
            </a:xfrm>
            <a:custGeom>
              <a:avLst/>
              <a:gdLst>
                <a:gd name="T0" fmla="*/ 0 w 777"/>
                <a:gd name="T1" fmla="*/ 619 h 1402"/>
                <a:gd name="T2" fmla="*/ 14 w 777"/>
                <a:gd name="T3" fmla="*/ 575 h 1402"/>
                <a:gd name="T4" fmla="*/ 67 w 777"/>
                <a:gd name="T5" fmla="*/ 489 h 1402"/>
                <a:gd name="T6" fmla="*/ 94 w 777"/>
                <a:gd name="T7" fmla="*/ 397 h 1402"/>
                <a:gd name="T8" fmla="*/ 68 w 777"/>
                <a:gd name="T9" fmla="*/ 330 h 1402"/>
                <a:gd name="T10" fmla="*/ 202 w 777"/>
                <a:gd name="T11" fmla="*/ 226 h 1402"/>
                <a:gd name="T12" fmla="*/ 229 w 777"/>
                <a:gd name="T13" fmla="*/ 172 h 1402"/>
                <a:gd name="T14" fmla="*/ 229 w 777"/>
                <a:gd name="T15" fmla="*/ 146 h 1402"/>
                <a:gd name="T16" fmla="*/ 132 w 777"/>
                <a:gd name="T17" fmla="*/ 33 h 1402"/>
                <a:gd name="T18" fmla="*/ 653 w 777"/>
                <a:gd name="T19" fmla="*/ 0 h 1402"/>
                <a:gd name="T20" fmla="*/ 666 w 777"/>
                <a:gd name="T21" fmla="*/ 85 h 1402"/>
                <a:gd name="T22" fmla="*/ 718 w 777"/>
                <a:gd name="T23" fmla="*/ 187 h 1402"/>
                <a:gd name="T24" fmla="*/ 763 w 777"/>
                <a:gd name="T25" fmla="*/ 722 h 1402"/>
                <a:gd name="T26" fmla="*/ 754 w 777"/>
                <a:gd name="T27" fmla="*/ 833 h 1402"/>
                <a:gd name="T28" fmla="*/ 777 w 777"/>
                <a:gd name="T29" fmla="*/ 898 h 1402"/>
                <a:gd name="T30" fmla="*/ 748 w 777"/>
                <a:gd name="T31" fmla="*/ 1020 h 1402"/>
                <a:gd name="T32" fmla="*/ 707 w 777"/>
                <a:gd name="T33" fmla="*/ 1074 h 1402"/>
                <a:gd name="T34" fmla="*/ 687 w 777"/>
                <a:gd name="T35" fmla="*/ 1160 h 1402"/>
                <a:gd name="T36" fmla="*/ 706 w 777"/>
                <a:gd name="T37" fmla="*/ 1185 h 1402"/>
                <a:gd name="T38" fmla="*/ 690 w 777"/>
                <a:gd name="T39" fmla="*/ 1239 h 1402"/>
                <a:gd name="T40" fmla="*/ 700 w 777"/>
                <a:gd name="T41" fmla="*/ 1258 h 1402"/>
                <a:gd name="T42" fmla="*/ 638 w 777"/>
                <a:gd name="T43" fmla="*/ 1283 h 1402"/>
                <a:gd name="T44" fmla="*/ 625 w 777"/>
                <a:gd name="T45" fmla="*/ 1372 h 1402"/>
                <a:gd name="T46" fmla="*/ 536 w 777"/>
                <a:gd name="T47" fmla="*/ 1340 h 1402"/>
                <a:gd name="T48" fmla="*/ 490 w 777"/>
                <a:gd name="T49" fmla="*/ 1385 h 1402"/>
                <a:gd name="T50" fmla="*/ 492 w 777"/>
                <a:gd name="T51" fmla="*/ 1402 h 1402"/>
                <a:gd name="T52" fmla="*/ 463 w 777"/>
                <a:gd name="T53" fmla="*/ 1400 h 1402"/>
                <a:gd name="T54" fmla="*/ 432 w 777"/>
                <a:gd name="T55" fmla="*/ 1341 h 1402"/>
                <a:gd name="T56" fmla="*/ 416 w 777"/>
                <a:gd name="T57" fmla="*/ 1261 h 1402"/>
                <a:gd name="T58" fmla="*/ 383 w 777"/>
                <a:gd name="T59" fmla="*/ 1206 h 1402"/>
                <a:gd name="T60" fmla="*/ 331 w 777"/>
                <a:gd name="T61" fmla="*/ 1185 h 1402"/>
                <a:gd name="T62" fmla="*/ 264 w 777"/>
                <a:gd name="T63" fmla="*/ 1133 h 1402"/>
                <a:gd name="T64" fmla="*/ 243 w 777"/>
                <a:gd name="T65" fmla="*/ 1062 h 1402"/>
                <a:gd name="T66" fmla="*/ 280 w 777"/>
                <a:gd name="T67" fmla="*/ 952 h 1402"/>
                <a:gd name="T68" fmla="*/ 249 w 777"/>
                <a:gd name="T69" fmla="*/ 931 h 1402"/>
                <a:gd name="T70" fmla="*/ 171 w 777"/>
                <a:gd name="T71" fmla="*/ 932 h 1402"/>
                <a:gd name="T72" fmla="*/ 158 w 777"/>
                <a:gd name="T73" fmla="*/ 861 h 1402"/>
                <a:gd name="T74" fmla="*/ 29 w 777"/>
                <a:gd name="T75" fmla="*/ 730 h 1402"/>
                <a:gd name="T76" fmla="*/ 0 w 777"/>
                <a:gd name="T77" fmla="*/ 619 h 14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77"/>
                <a:gd name="T118" fmla="*/ 0 h 1402"/>
                <a:gd name="T119" fmla="*/ 777 w 777"/>
                <a:gd name="T120" fmla="*/ 1402 h 14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77" h="1402">
                  <a:moveTo>
                    <a:pt x="0" y="619"/>
                  </a:moveTo>
                  <a:lnTo>
                    <a:pt x="14" y="575"/>
                  </a:lnTo>
                  <a:lnTo>
                    <a:pt x="67" y="489"/>
                  </a:lnTo>
                  <a:lnTo>
                    <a:pt x="94" y="397"/>
                  </a:lnTo>
                  <a:lnTo>
                    <a:pt x="68" y="330"/>
                  </a:lnTo>
                  <a:lnTo>
                    <a:pt x="202" y="226"/>
                  </a:lnTo>
                  <a:lnTo>
                    <a:pt x="229" y="172"/>
                  </a:lnTo>
                  <a:lnTo>
                    <a:pt x="229" y="146"/>
                  </a:lnTo>
                  <a:lnTo>
                    <a:pt x="132" y="33"/>
                  </a:lnTo>
                  <a:lnTo>
                    <a:pt x="653" y="0"/>
                  </a:lnTo>
                  <a:lnTo>
                    <a:pt x="666" y="85"/>
                  </a:lnTo>
                  <a:lnTo>
                    <a:pt x="718" y="187"/>
                  </a:lnTo>
                  <a:lnTo>
                    <a:pt x="763" y="722"/>
                  </a:lnTo>
                  <a:lnTo>
                    <a:pt x="754" y="833"/>
                  </a:lnTo>
                  <a:lnTo>
                    <a:pt x="777" y="898"/>
                  </a:lnTo>
                  <a:lnTo>
                    <a:pt x="748" y="1020"/>
                  </a:lnTo>
                  <a:lnTo>
                    <a:pt x="707" y="1074"/>
                  </a:lnTo>
                  <a:lnTo>
                    <a:pt x="687" y="1160"/>
                  </a:lnTo>
                  <a:lnTo>
                    <a:pt x="706" y="1185"/>
                  </a:lnTo>
                  <a:lnTo>
                    <a:pt x="690" y="1239"/>
                  </a:lnTo>
                  <a:lnTo>
                    <a:pt x="700" y="1258"/>
                  </a:lnTo>
                  <a:lnTo>
                    <a:pt x="638" y="1283"/>
                  </a:lnTo>
                  <a:lnTo>
                    <a:pt x="625" y="1372"/>
                  </a:lnTo>
                  <a:lnTo>
                    <a:pt x="536" y="1340"/>
                  </a:lnTo>
                  <a:lnTo>
                    <a:pt x="490" y="1385"/>
                  </a:lnTo>
                  <a:lnTo>
                    <a:pt x="492" y="1402"/>
                  </a:lnTo>
                  <a:lnTo>
                    <a:pt x="463" y="1400"/>
                  </a:lnTo>
                  <a:lnTo>
                    <a:pt x="432" y="1341"/>
                  </a:lnTo>
                  <a:lnTo>
                    <a:pt x="416" y="1261"/>
                  </a:lnTo>
                  <a:lnTo>
                    <a:pt x="383" y="1206"/>
                  </a:lnTo>
                  <a:lnTo>
                    <a:pt x="331" y="1185"/>
                  </a:lnTo>
                  <a:lnTo>
                    <a:pt x="264" y="1133"/>
                  </a:lnTo>
                  <a:lnTo>
                    <a:pt x="243" y="1062"/>
                  </a:lnTo>
                  <a:lnTo>
                    <a:pt x="280" y="952"/>
                  </a:lnTo>
                  <a:lnTo>
                    <a:pt x="249" y="931"/>
                  </a:lnTo>
                  <a:lnTo>
                    <a:pt x="171" y="932"/>
                  </a:lnTo>
                  <a:lnTo>
                    <a:pt x="158" y="861"/>
                  </a:lnTo>
                  <a:lnTo>
                    <a:pt x="29" y="730"/>
                  </a:lnTo>
                  <a:lnTo>
                    <a:pt x="0" y="61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6" name="Freeform 49">
              <a:extLst>
                <a:ext uri="{FF2B5EF4-FFF2-40B4-BE49-F238E27FC236}">
                  <a16:creationId xmlns:a16="http://schemas.microsoft.com/office/drawing/2014/main" id="{FF568D80-78EC-4D12-96A2-EFE556E721EB}"/>
                </a:ext>
              </a:extLst>
            </p:cNvPr>
            <p:cNvSpPr>
              <a:spLocks/>
            </p:cNvSpPr>
            <p:nvPr/>
          </p:nvSpPr>
          <p:spPr bwMode="gray">
            <a:xfrm>
              <a:off x="3897624" y="2282793"/>
              <a:ext cx="300143" cy="514531"/>
            </a:xfrm>
            <a:custGeom>
              <a:avLst/>
              <a:gdLst>
                <a:gd name="T0" fmla="*/ 0 w 616"/>
                <a:gd name="T1" fmla="*/ 1032 h 1057"/>
                <a:gd name="T2" fmla="*/ 19 w 616"/>
                <a:gd name="T3" fmla="*/ 1057 h 1057"/>
                <a:gd name="T4" fmla="*/ 37 w 616"/>
                <a:gd name="T5" fmla="*/ 1027 h 1057"/>
                <a:gd name="T6" fmla="*/ 126 w 616"/>
                <a:gd name="T7" fmla="*/ 1012 h 1057"/>
                <a:gd name="T8" fmla="*/ 158 w 616"/>
                <a:gd name="T9" fmla="*/ 1020 h 1057"/>
                <a:gd name="T10" fmla="*/ 252 w 616"/>
                <a:gd name="T11" fmla="*/ 987 h 1057"/>
                <a:gd name="T12" fmla="*/ 285 w 616"/>
                <a:gd name="T13" fmla="*/ 1017 h 1057"/>
                <a:gd name="T14" fmla="*/ 316 w 616"/>
                <a:gd name="T15" fmla="*/ 946 h 1057"/>
                <a:gd name="T16" fmla="*/ 347 w 616"/>
                <a:gd name="T17" fmla="*/ 928 h 1057"/>
                <a:gd name="T18" fmla="*/ 416 w 616"/>
                <a:gd name="T19" fmla="*/ 967 h 1057"/>
                <a:gd name="T20" fmla="*/ 426 w 616"/>
                <a:gd name="T21" fmla="*/ 922 h 1057"/>
                <a:gd name="T22" fmla="*/ 501 w 616"/>
                <a:gd name="T23" fmla="*/ 828 h 1057"/>
                <a:gd name="T24" fmla="*/ 518 w 616"/>
                <a:gd name="T25" fmla="*/ 771 h 1057"/>
                <a:gd name="T26" fmla="*/ 545 w 616"/>
                <a:gd name="T27" fmla="*/ 779 h 1057"/>
                <a:gd name="T28" fmla="*/ 616 w 616"/>
                <a:gd name="T29" fmla="*/ 730 h 1057"/>
                <a:gd name="T30" fmla="*/ 596 w 616"/>
                <a:gd name="T31" fmla="*/ 690 h 1057"/>
                <a:gd name="T32" fmla="*/ 607 w 616"/>
                <a:gd name="T33" fmla="*/ 667 h 1057"/>
                <a:gd name="T34" fmla="*/ 537 w 616"/>
                <a:gd name="T35" fmla="*/ 16 h 1057"/>
                <a:gd name="T36" fmla="*/ 530 w 616"/>
                <a:gd name="T37" fmla="*/ 0 h 1057"/>
                <a:gd name="T38" fmla="*/ 162 w 616"/>
                <a:gd name="T39" fmla="*/ 40 h 1057"/>
                <a:gd name="T40" fmla="*/ 91 w 616"/>
                <a:gd name="T41" fmla="*/ 81 h 1057"/>
                <a:gd name="T42" fmla="*/ 31 w 616"/>
                <a:gd name="T43" fmla="*/ 59 h 1057"/>
                <a:gd name="T44" fmla="*/ 76 w 616"/>
                <a:gd name="T45" fmla="*/ 594 h 1057"/>
                <a:gd name="T46" fmla="*/ 67 w 616"/>
                <a:gd name="T47" fmla="*/ 705 h 1057"/>
                <a:gd name="T48" fmla="*/ 90 w 616"/>
                <a:gd name="T49" fmla="*/ 770 h 1057"/>
                <a:gd name="T50" fmla="*/ 61 w 616"/>
                <a:gd name="T51" fmla="*/ 892 h 1057"/>
                <a:gd name="T52" fmla="*/ 20 w 616"/>
                <a:gd name="T53" fmla="*/ 946 h 1057"/>
                <a:gd name="T54" fmla="*/ 0 w 616"/>
                <a:gd name="T55" fmla="*/ 1032 h 10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16"/>
                <a:gd name="T85" fmla="*/ 0 h 1057"/>
                <a:gd name="T86" fmla="*/ 616 w 616"/>
                <a:gd name="T87" fmla="*/ 1057 h 10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16" h="1057">
                  <a:moveTo>
                    <a:pt x="0" y="1032"/>
                  </a:moveTo>
                  <a:lnTo>
                    <a:pt x="19" y="1057"/>
                  </a:lnTo>
                  <a:lnTo>
                    <a:pt x="37" y="1027"/>
                  </a:lnTo>
                  <a:lnTo>
                    <a:pt x="126" y="1012"/>
                  </a:lnTo>
                  <a:lnTo>
                    <a:pt x="158" y="1020"/>
                  </a:lnTo>
                  <a:lnTo>
                    <a:pt x="252" y="987"/>
                  </a:lnTo>
                  <a:lnTo>
                    <a:pt x="285" y="1017"/>
                  </a:lnTo>
                  <a:lnTo>
                    <a:pt x="316" y="946"/>
                  </a:lnTo>
                  <a:lnTo>
                    <a:pt x="347" y="928"/>
                  </a:lnTo>
                  <a:lnTo>
                    <a:pt x="416" y="967"/>
                  </a:lnTo>
                  <a:lnTo>
                    <a:pt x="426" y="922"/>
                  </a:lnTo>
                  <a:lnTo>
                    <a:pt x="501" y="828"/>
                  </a:lnTo>
                  <a:lnTo>
                    <a:pt x="518" y="771"/>
                  </a:lnTo>
                  <a:lnTo>
                    <a:pt x="545" y="779"/>
                  </a:lnTo>
                  <a:lnTo>
                    <a:pt x="616" y="730"/>
                  </a:lnTo>
                  <a:lnTo>
                    <a:pt x="596" y="690"/>
                  </a:lnTo>
                  <a:lnTo>
                    <a:pt x="607" y="667"/>
                  </a:lnTo>
                  <a:lnTo>
                    <a:pt x="537" y="16"/>
                  </a:lnTo>
                  <a:lnTo>
                    <a:pt x="530" y="0"/>
                  </a:lnTo>
                  <a:lnTo>
                    <a:pt x="162" y="40"/>
                  </a:lnTo>
                  <a:lnTo>
                    <a:pt x="91" y="81"/>
                  </a:lnTo>
                  <a:lnTo>
                    <a:pt x="31" y="59"/>
                  </a:lnTo>
                  <a:lnTo>
                    <a:pt x="76" y="594"/>
                  </a:lnTo>
                  <a:lnTo>
                    <a:pt x="67" y="705"/>
                  </a:lnTo>
                  <a:lnTo>
                    <a:pt x="90" y="770"/>
                  </a:lnTo>
                  <a:lnTo>
                    <a:pt x="61" y="892"/>
                  </a:lnTo>
                  <a:lnTo>
                    <a:pt x="20" y="946"/>
                  </a:lnTo>
                  <a:lnTo>
                    <a:pt x="0" y="103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7" name="Freeform 50">
              <a:extLst>
                <a:ext uri="{FF2B5EF4-FFF2-40B4-BE49-F238E27FC236}">
                  <a16:creationId xmlns:a16="http://schemas.microsoft.com/office/drawing/2014/main" id="{BCB83869-5C8B-43F6-9D1B-42AA18DB57F4}"/>
                </a:ext>
              </a:extLst>
            </p:cNvPr>
            <p:cNvSpPr>
              <a:spLocks/>
            </p:cNvSpPr>
            <p:nvPr/>
          </p:nvSpPr>
          <p:spPr bwMode="gray">
            <a:xfrm>
              <a:off x="3096593" y="2118104"/>
              <a:ext cx="577873" cy="382975"/>
            </a:xfrm>
            <a:custGeom>
              <a:avLst/>
              <a:gdLst>
                <a:gd name="T0" fmla="*/ 0 w 1185"/>
                <a:gd name="T1" fmla="*/ 15 h 785"/>
                <a:gd name="T2" fmla="*/ 3 w 1185"/>
                <a:gd name="T3" fmla="*/ 76 h 785"/>
                <a:gd name="T4" fmla="*/ 25 w 1185"/>
                <a:gd name="T5" fmla="*/ 121 h 785"/>
                <a:gd name="T6" fmla="*/ 10 w 1185"/>
                <a:gd name="T7" fmla="*/ 165 h 785"/>
                <a:gd name="T8" fmla="*/ 23 w 1185"/>
                <a:gd name="T9" fmla="*/ 274 h 785"/>
                <a:gd name="T10" fmla="*/ 79 w 1185"/>
                <a:gd name="T11" fmla="*/ 429 h 785"/>
                <a:gd name="T12" fmla="*/ 80 w 1185"/>
                <a:gd name="T13" fmla="*/ 477 h 785"/>
                <a:gd name="T14" fmla="*/ 117 w 1185"/>
                <a:gd name="T15" fmla="*/ 549 h 785"/>
                <a:gd name="T16" fmla="*/ 135 w 1185"/>
                <a:gd name="T17" fmla="*/ 668 h 785"/>
                <a:gd name="T18" fmla="*/ 126 w 1185"/>
                <a:gd name="T19" fmla="*/ 704 h 785"/>
                <a:gd name="T20" fmla="*/ 149 w 1185"/>
                <a:gd name="T21" fmla="*/ 743 h 785"/>
                <a:gd name="T22" fmla="*/ 912 w 1185"/>
                <a:gd name="T23" fmla="*/ 727 h 785"/>
                <a:gd name="T24" fmla="*/ 970 w 1185"/>
                <a:gd name="T25" fmla="*/ 785 h 785"/>
                <a:gd name="T26" fmla="*/ 1023 w 1185"/>
                <a:gd name="T27" fmla="*/ 699 h 785"/>
                <a:gd name="T28" fmla="*/ 1050 w 1185"/>
                <a:gd name="T29" fmla="*/ 607 h 785"/>
                <a:gd name="T30" fmla="*/ 1024 w 1185"/>
                <a:gd name="T31" fmla="*/ 540 h 785"/>
                <a:gd name="T32" fmla="*/ 1158 w 1185"/>
                <a:gd name="T33" fmla="*/ 436 h 785"/>
                <a:gd name="T34" fmla="*/ 1185 w 1185"/>
                <a:gd name="T35" fmla="*/ 382 h 785"/>
                <a:gd name="T36" fmla="*/ 1185 w 1185"/>
                <a:gd name="T37" fmla="*/ 356 h 785"/>
                <a:gd name="T38" fmla="*/ 1088 w 1185"/>
                <a:gd name="T39" fmla="*/ 243 h 785"/>
                <a:gd name="T40" fmla="*/ 989 w 1185"/>
                <a:gd name="T41" fmla="*/ 126 h 785"/>
                <a:gd name="T42" fmla="*/ 970 w 1185"/>
                <a:gd name="T43" fmla="*/ 0 h 785"/>
                <a:gd name="T44" fmla="*/ 27 w 1185"/>
                <a:gd name="T45" fmla="*/ 17 h 785"/>
                <a:gd name="T46" fmla="*/ 0 w 1185"/>
                <a:gd name="T47" fmla="*/ 15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5"/>
                <a:gd name="T73" fmla="*/ 0 h 785"/>
                <a:gd name="T74" fmla="*/ 1185 w 1185"/>
                <a:gd name="T75" fmla="*/ 785 h 7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5" h="785">
                  <a:moveTo>
                    <a:pt x="0" y="15"/>
                  </a:moveTo>
                  <a:lnTo>
                    <a:pt x="3" y="76"/>
                  </a:lnTo>
                  <a:lnTo>
                    <a:pt x="25" y="121"/>
                  </a:lnTo>
                  <a:lnTo>
                    <a:pt x="10" y="165"/>
                  </a:lnTo>
                  <a:lnTo>
                    <a:pt x="23" y="274"/>
                  </a:lnTo>
                  <a:lnTo>
                    <a:pt x="79" y="429"/>
                  </a:lnTo>
                  <a:lnTo>
                    <a:pt x="80" y="477"/>
                  </a:lnTo>
                  <a:lnTo>
                    <a:pt x="117" y="549"/>
                  </a:lnTo>
                  <a:lnTo>
                    <a:pt x="135" y="668"/>
                  </a:lnTo>
                  <a:lnTo>
                    <a:pt x="126" y="704"/>
                  </a:lnTo>
                  <a:lnTo>
                    <a:pt x="149" y="743"/>
                  </a:lnTo>
                  <a:lnTo>
                    <a:pt x="912" y="727"/>
                  </a:lnTo>
                  <a:lnTo>
                    <a:pt x="970" y="785"/>
                  </a:lnTo>
                  <a:lnTo>
                    <a:pt x="1023" y="699"/>
                  </a:lnTo>
                  <a:lnTo>
                    <a:pt x="1050" y="607"/>
                  </a:lnTo>
                  <a:lnTo>
                    <a:pt x="1024" y="540"/>
                  </a:lnTo>
                  <a:lnTo>
                    <a:pt x="1158" y="436"/>
                  </a:lnTo>
                  <a:lnTo>
                    <a:pt x="1185" y="382"/>
                  </a:lnTo>
                  <a:lnTo>
                    <a:pt x="1185" y="356"/>
                  </a:lnTo>
                  <a:lnTo>
                    <a:pt x="1088" y="243"/>
                  </a:lnTo>
                  <a:lnTo>
                    <a:pt x="989" y="126"/>
                  </a:lnTo>
                  <a:lnTo>
                    <a:pt x="970" y="0"/>
                  </a:lnTo>
                  <a:lnTo>
                    <a:pt x="27" y="17"/>
                  </a:lnTo>
                  <a:lnTo>
                    <a:pt x="0" y="15"/>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8" name="Freeform 51">
              <a:extLst>
                <a:ext uri="{FF2B5EF4-FFF2-40B4-BE49-F238E27FC236}">
                  <a16:creationId xmlns:a16="http://schemas.microsoft.com/office/drawing/2014/main" id="{64FB72F5-EB8A-49E9-9430-094A05EEB67F}"/>
                </a:ext>
              </a:extLst>
            </p:cNvPr>
            <p:cNvSpPr>
              <a:spLocks/>
            </p:cNvSpPr>
            <p:nvPr/>
          </p:nvSpPr>
          <p:spPr bwMode="gray">
            <a:xfrm>
              <a:off x="2560623" y="2533237"/>
              <a:ext cx="718199" cy="387847"/>
            </a:xfrm>
            <a:custGeom>
              <a:avLst/>
              <a:gdLst>
                <a:gd name="T0" fmla="*/ 0 w 1474"/>
                <a:gd name="T1" fmla="*/ 758 h 798"/>
                <a:gd name="T2" fmla="*/ 50 w 1474"/>
                <a:gd name="T3" fmla="*/ 0 h 798"/>
                <a:gd name="T4" fmla="*/ 600 w 1474"/>
                <a:gd name="T5" fmla="*/ 32 h 798"/>
                <a:gd name="T6" fmla="*/ 1329 w 1474"/>
                <a:gd name="T7" fmla="*/ 41 h 798"/>
                <a:gd name="T8" fmla="*/ 1368 w 1474"/>
                <a:gd name="T9" fmla="*/ 76 h 798"/>
                <a:gd name="T10" fmla="*/ 1391 w 1474"/>
                <a:gd name="T11" fmla="*/ 69 h 798"/>
                <a:gd name="T12" fmla="*/ 1414 w 1474"/>
                <a:gd name="T13" fmla="*/ 88 h 798"/>
                <a:gd name="T14" fmla="*/ 1417 w 1474"/>
                <a:gd name="T15" fmla="*/ 108 h 798"/>
                <a:gd name="T16" fmla="*/ 1396 w 1474"/>
                <a:gd name="T17" fmla="*/ 109 h 798"/>
                <a:gd name="T18" fmla="*/ 1371 w 1474"/>
                <a:gd name="T19" fmla="*/ 162 h 798"/>
                <a:gd name="T20" fmla="*/ 1429 w 1474"/>
                <a:gd name="T21" fmla="*/ 245 h 798"/>
                <a:gd name="T22" fmla="*/ 1474 w 1474"/>
                <a:gd name="T23" fmla="*/ 258 h 798"/>
                <a:gd name="T24" fmla="*/ 1468 w 1474"/>
                <a:gd name="T25" fmla="*/ 796 h 798"/>
                <a:gd name="T26" fmla="*/ 838 w 1474"/>
                <a:gd name="T27" fmla="*/ 798 h 798"/>
                <a:gd name="T28" fmla="*/ 0 w 1474"/>
                <a:gd name="T29" fmla="*/ 758 h 7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74"/>
                <a:gd name="T46" fmla="*/ 0 h 798"/>
                <a:gd name="T47" fmla="*/ 1474 w 1474"/>
                <a:gd name="T48" fmla="*/ 798 h 7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74" h="798">
                  <a:moveTo>
                    <a:pt x="0" y="758"/>
                  </a:moveTo>
                  <a:lnTo>
                    <a:pt x="50" y="0"/>
                  </a:lnTo>
                  <a:lnTo>
                    <a:pt x="600" y="32"/>
                  </a:lnTo>
                  <a:lnTo>
                    <a:pt x="1329" y="41"/>
                  </a:lnTo>
                  <a:lnTo>
                    <a:pt x="1368" y="76"/>
                  </a:lnTo>
                  <a:lnTo>
                    <a:pt x="1391" y="69"/>
                  </a:lnTo>
                  <a:lnTo>
                    <a:pt x="1414" y="88"/>
                  </a:lnTo>
                  <a:lnTo>
                    <a:pt x="1417" y="108"/>
                  </a:lnTo>
                  <a:lnTo>
                    <a:pt x="1396" y="109"/>
                  </a:lnTo>
                  <a:lnTo>
                    <a:pt x="1371" y="162"/>
                  </a:lnTo>
                  <a:lnTo>
                    <a:pt x="1429" y="245"/>
                  </a:lnTo>
                  <a:lnTo>
                    <a:pt x="1474" y="258"/>
                  </a:lnTo>
                  <a:lnTo>
                    <a:pt x="1468" y="796"/>
                  </a:lnTo>
                  <a:lnTo>
                    <a:pt x="838" y="798"/>
                  </a:lnTo>
                  <a:lnTo>
                    <a:pt x="0" y="75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29" name="Freeform 52">
              <a:extLst>
                <a:ext uri="{FF2B5EF4-FFF2-40B4-BE49-F238E27FC236}">
                  <a16:creationId xmlns:a16="http://schemas.microsoft.com/office/drawing/2014/main" id="{CF9F2A4D-E974-4E9B-A9C1-40CBFB5B5180}"/>
                </a:ext>
              </a:extLst>
            </p:cNvPr>
            <p:cNvSpPr>
              <a:spLocks/>
            </p:cNvSpPr>
            <p:nvPr/>
          </p:nvSpPr>
          <p:spPr bwMode="gray">
            <a:xfrm>
              <a:off x="3784583" y="2606324"/>
              <a:ext cx="702607" cy="359587"/>
            </a:xfrm>
            <a:custGeom>
              <a:avLst/>
              <a:gdLst>
                <a:gd name="T0" fmla="*/ 0 w 1440"/>
                <a:gd name="T1" fmla="*/ 738 h 738"/>
                <a:gd name="T2" fmla="*/ 13 w 1440"/>
                <a:gd name="T3" fmla="*/ 703 h 738"/>
                <a:gd name="T4" fmla="*/ 46 w 1440"/>
                <a:gd name="T5" fmla="*/ 698 h 738"/>
                <a:gd name="T6" fmla="*/ 55 w 1440"/>
                <a:gd name="T7" fmla="*/ 616 h 738"/>
                <a:gd name="T8" fmla="*/ 36 w 1440"/>
                <a:gd name="T9" fmla="*/ 610 h 738"/>
                <a:gd name="T10" fmla="*/ 34 w 1440"/>
                <a:gd name="T11" fmla="*/ 593 h 738"/>
                <a:gd name="T12" fmla="*/ 80 w 1440"/>
                <a:gd name="T13" fmla="*/ 548 h 738"/>
                <a:gd name="T14" fmla="*/ 169 w 1440"/>
                <a:gd name="T15" fmla="*/ 580 h 738"/>
                <a:gd name="T16" fmla="*/ 182 w 1440"/>
                <a:gd name="T17" fmla="*/ 491 h 738"/>
                <a:gd name="T18" fmla="*/ 244 w 1440"/>
                <a:gd name="T19" fmla="*/ 466 h 738"/>
                <a:gd name="T20" fmla="*/ 234 w 1440"/>
                <a:gd name="T21" fmla="*/ 447 h 738"/>
                <a:gd name="T22" fmla="*/ 250 w 1440"/>
                <a:gd name="T23" fmla="*/ 393 h 738"/>
                <a:gd name="T24" fmla="*/ 268 w 1440"/>
                <a:gd name="T25" fmla="*/ 363 h 738"/>
                <a:gd name="T26" fmla="*/ 357 w 1440"/>
                <a:gd name="T27" fmla="*/ 348 h 738"/>
                <a:gd name="T28" fmla="*/ 389 w 1440"/>
                <a:gd name="T29" fmla="*/ 356 h 738"/>
                <a:gd name="T30" fmla="*/ 483 w 1440"/>
                <a:gd name="T31" fmla="*/ 323 h 738"/>
                <a:gd name="T32" fmla="*/ 516 w 1440"/>
                <a:gd name="T33" fmla="*/ 353 h 738"/>
                <a:gd name="T34" fmla="*/ 547 w 1440"/>
                <a:gd name="T35" fmla="*/ 282 h 738"/>
                <a:gd name="T36" fmla="*/ 578 w 1440"/>
                <a:gd name="T37" fmla="*/ 264 h 738"/>
                <a:gd name="T38" fmla="*/ 647 w 1440"/>
                <a:gd name="T39" fmla="*/ 303 h 738"/>
                <a:gd name="T40" fmla="*/ 657 w 1440"/>
                <a:gd name="T41" fmla="*/ 258 h 738"/>
                <a:gd name="T42" fmla="*/ 732 w 1440"/>
                <a:gd name="T43" fmla="*/ 164 h 738"/>
                <a:gd name="T44" fmla="*/ 749 w 1440"/>
                <a:gd name="T45" fmla="*/ 107 h 738"/>
                <a:gd name="T46" fmla="*/ 776 w 1440"/>
                <a:gd name="T47" fmla="*/ 115 h 738"/>
                <a:gd name="T48" fmla="*/ 847 w 1440"/>
                <a:gd name="T49" fmla="*/ 66 h 738"/>
                <a:gd name="T50" fmla="*/ 827 w 1440"/>
                <a:gd name="T51" fmla="*/ 26 h 738"/>
                <a:gd name="T52" fmla="*/ 838 w 1440"/>
                <a:gd name="T53" fmla="*/ 3 h 738"/>
                <a:gd name="T54" fmla="*/ 898 w 1440"/>
                <a:gd name="T55" fmla="*/ 0 h 738"/>
                <a:gd name="T56" fmla="*/ 938 w 1440"/>
                <a:gd name="T57" fmla="*/ 14 h 738"/>
                <a:gd name="T58" fmla="*/ 959 w 1440"/>
                <a:gd name="T59" fmla="*/ 57 h 738"/>
                <a:gd name="T60" fmla="*/ 1024 w 1440"/>
                <a:gd name="T61" fmla="*/ 68 h 738"/>
                <a:gd name="T62" fmla="*/ 1064 w 1440"/>
                <a:gd name="T63" fmla="*/ 91 h 738"/>
                <a:gd name="T64" fmla="*/ 1153 w 1440"/>
                <a:gd name="T65" fmla="*/ 86 h 738"/>
                <a:gd name="T66" fmla="*/ 1196 w 1440"/>
                <a:gd name="T67" fmla="*/ 57 h 738"/>
                <a:gd name="T68" fmla="*/ 1291 w 1440"/>
                <a:gd name="T69" fmla="*/ 120 h 738"/>
                <a:gd name="T70" fmla="*/ 1326 w 1440"/>
                <a:gd name="T71" fmla="*/ 242 h 738"/>
                <a:gd name="T72" fmla="*/ 1365 w 1440"/>
                <a:gd name="T73" fmla="*/ 284 h 738"/>
                <a:gd name="T74" fmla="*/ 1440 w 1440"/>
                <a:gd name="T75" fmla="*/ 327 h 738"/>
                <a:gd name="T76" fmla="*/ 1385 w 1440"/>
                <a:gd name="T77" fmla="*/ 393 h 738"/>
                <a:gd name="T78" fmla="*/ 1337 w 1440"/>
                <a:gd name="T79" fmla="*/ 427 h 738"/>
                <a:gd name="T80" fmla="*/ 1285 w 1440"/>
                <a:gd name="T81" fmla="*/ 490 h 738"/>
                <a:gd name="T82" fmla="*/ 1284 w 1440"/>
                <a:gd name="T83" fmla="*/ 511 h 738"/>
                <a:gd name="T84" fmla="*/ 1141 w 1440"/>
                <a:gd name="T85" fmla="*/ 606 h 738"/>
                <a:gd name="T86" fmla="*/ 348 w 1440"/>
                <a:gd name="T87" fmla="*/ 679 h 738"/>
                <a:gd name="T88" fmla="*/ 263 w 1440"/>
                <a:gd name="T89" fmla="*/ 675 h 738"/>
                <a:gd name="T90" fmla="*/ 267 w 1440"/>
                <a:gd name="T91" fmla="*/ 719 h 738"/>
                <a:gd name="T92" fmla="*/ 0 w 1440"/>
                <a:gd name="T93" fmla="*/ 738 h 7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40"/>
                <a:gd name="T142" fmla="*/ 0 h 738"/>
                <a:gd name="T143" fmla="*/ 1440 w 1440"/>
                <a:gd name="T144" fmla="*/ 738 h 7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40" h="738">
                  <a:moveTo>
                    <a:pt x="0" y="738"/>
                  </a:moveTo>
                  <a:lnTo>
                    <a:pt x="13" y="703"/>
                  </a:lnTo>
                  <a:lnTo>
                    <a:pt x="46" y="698"/>
                  </a:lnTo>
                  <a:lnTo>
                    <a:pt x="55" y="616"/>
                  </a:lnTo>
                  <a:lnTo>
                    <a:pt x="36" y="610"/>
                  </a:lnTo>
                  <a:lnTo>
                    <a:pt x="34" y="593"/>
                  </a:lnTo>
                  <a:lnTo>
                    <a:pt x="80" y="548"/>
                  </a:lnTo>
                  <a:lnTo>
                    <a:pt x="169" y="580"/>
                  </a:lnTo>
                  <a:lnTo>
                    <a:pt x="182" y="491"/>
                  </a:lnTo>
                  <a:lnTo>
                    <a:pt x="244" y="466"/>
                  </a:lnTo>
                  <a:lnTo>
                    <a:pt x="234" y="447"/>
                  </a:lnTo>
                  <a:lnTo>
                    <a:pt x="250" y="393"/>
                  </a:lnTo>
                  <a:lnTo>
                    <a:pt x="268" y="363"/>
                  </a:lnTo>
                  <a:lnTo>
                    <a:pt x="357" y="348"/>
                  </a:lnTo>
                  <a:lnTo>
                    <a:pt x="389" y="356"/>
                  </a:lnTo>
                  <a:lnTo>
                    <a:pt x="483" y="323"/>
                  </a:lnTo>
                  <a:lnTo>
                    <a:pt x="516" y="353"/>
                  </a:lnTo>
                  <a:lnTo>
                    <a:pt x="547" y="282"/>
                  </a:lnTo>
                  <a:lnTo>
                    <a:pt x="578" y="264"/>
                  </a:lnTo>
                  <a:lnTo>
                    <a:pt x="647" y="303"/>
                  </a:lnTo>
                  <a:lnTo>
                    <a:pt x="657" y="258"/>
                  </a:lnTo>
                  <a:lnTo>
                    <a:pt x="732" y="164"/>
                  </a:lnTo>
                  <a:lnTo>
                    <a:pt x="749" y="107"/>
                  </a:lnTo>
                  <a:lnTo>
                    <a:pt x="776" y="115"/>
                  </a:lnTo>
                  <a:lnTo>
                    <a:pt x="847" y="66"/>
                  </a:lnTo>
                  <a:lnTo>
                    <a:pt x="827" y="26"/>
                  </a:lnTo>
                  <a:lnTo>
                    <a:pt x="838" y="3"/>
                  </a:lnTo>
                  <a:lnTo>
                    <a:pt x="898" y="0"/>
                  </a:lnTo>
                  <a:lnTo>
                    <a:pt x="938" y="14"/>
                  </a:lnTo>
                  <a:lnTo>
                    <a:pt x="959" y="57"/>
                  </a:lnTo>
                  <a:lnTo>
                    <a:pt x="1024" y="68"/>
                  </a:lnTo>
                  <a:lnTo>
                    <a:pt x="1064" y="91"/>
                  </a:lnTo>
                  <a:lnTo>
                    <a:pt x="1153" y="86"/>
                  </a:lnTo>
                  <a:lnTo>
                    <a:pt x="1196" y="57"/>
                  </a:lnTo>
                  <a:lnTo>
                    <a:pt x="1291" y="120"/>
                  </a:lnTo>
                  <a:lnTo>
                    <a:pt x="1326" y="242"/>
                  </a:lnTo>
                  <a:lnTo>
                    <a:pt x="1365" y="284"/>
                  </a:lnTo>
                  <a:lnTo>
                    <a:pt x="1440" y="327"/>
                  </a:lnTo>
                  <a:lnTo>
                    <a:pt x="1385" y="393"/>
                  </a:lnTo>
                  <a:lnTo>
                    <a:pt x="1337" y="427"/>
                  </a:lnTo>
                  <a:lnTo>
                    <a:pt x="1285" y="490"/>
                  </a:lnTo>
                  <a:lnTo>
                    <a:pt x="1284" y="511"/>
                  </a:lnTo>
                  <a:lnTo>
                    <a:pt x="1141" y="606"/>
                  </a:lnTo>
                  <a:lnTo>
                    <a:pt x="348" y="679"/>
                  </a:lnTo>
                  <a:lnTo>
                    <a:pt x="263" y="675"/>
                  </a:lnTo>
                  <a:lnTo>
                    <a:pt x="267" y="719"/>
                  </a:lnTo>
                  <a:lnTo>
                    <a:pt x="0" y="73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0" name="Freeform 53">
              <a:extLst>
                <a:ext uri="{FF2B5EF4-FFF2-40B4-BE49-F238E27FC236}">
                  <a16:creationId xmlns:a16="http://schemas.microsoft.com/office/drawing/2014/main" id="{CFBFFFAE-928A-48F9-A48C-243838658893}"/>
                </a:ext>
              </a:extLst>
            </p:cNvPr>
            <p:cNvSpPr>
              <a:spLocks/>
            </p:cNvSpPr>
            <p:nvPr/>
          </p:nvSpPr>
          <p:spPr bwMode="gray">
            <a:xfrm>
              <a:off x="3340216" y="3395661"/>
              <a:ext cx="542791" cy="479449"/>
            </a:xfrm>
            <a:custGeom>
              <a:avLst/>
              <a:gdLst>
                <a:gd name="T0" fmla="*/ 13 w 1115"/>
                <a:gd name="T1" fmla="*/ 271 h 983"/>
                <a:gd name="T2" fmla="*/ 55 w 1115"/>
                <a:gd name="T3" fmla="*/ 372 h 983"/>
                <a:gd name="T4" fmla="*/ 113 w 1115"/>
                <a:gd name="T5" fmla="*/ 546 h 983"/>
                <a:gd name="T6" fmla="*/ 80 w 1115"/>
                <a:gd name="T7" fmla="*/ 663 h 983"/>
                <a:gd name="T8" fmla="*/ 86 w 1115"/>
                <a:gd name="T9" fmla="*/ 750 h 983"/>
                <a:gd name="T10" fmla="*/ 38 w 1115"/>
                <a:gd name="T11" fmla="*/ 812 h 983"/>
                <a:gd name="T12" fmla="*/ 207 w 1115"/>
                <a:gd name="T13" fmla="*/ 814 h 983"/>
                <a:gd name="T14" fmla="*/ 444 w 1115"/>
                <a:gd name="T15" fmla="*/ 857 h 983"/>
                <a:gd name="T16" fmla="*/ 466 w 1115"/>
                <a:gd name="T17" fmla="*/ 794 h 983"/>
                <a:gd name="T18" fmla="*/ 560 w 1115"/>
                <a:gd name="T19" fmla="*/ 869 h 983"/>
                <a:gd name="T20" fmla="*/ 617 w 1115"/>
                <a:gd name="T21" fmla="*/ 875 h 983"/>
                <a:gd name="T22" fmla="*/ 659 w 1115"/>
                <a:gd name="T23" fmla="*/ 942 h 983"/>
                <a:gd name="T24" fmla="*/ 725 w 1115"/>
                <a:gd name="T25" fmla="*/ 969 h 983"/>
                <a:gd name="T26" fmla="*/ 776 w 1115"/>
                <a:gd name="T27" fmla="*/ 932 h 983"/>
                <a:gd name="T28" fmla="*/ 806 w 1115"/>
                <a:gd name="T29" fmla="*/ 939 h 983"/>
                <a:gd name="T30" fmla="*/ 849 w 1115"/>
                <a:gd name="T31" fmla="*/ 963 h 983"/>
                <a:gd name="T32" fmla="*/ 896 w 1115"/>
                <a:gd name="T33" fmla="*/ 924 h 983"/>
                <a:gd name="T34" fmla="*/ 887 w 1115"/>
                <a:gd name="T35" fmla="*/ 865 h 983"/>
                <a:gd name="T36" fmla="*/ 930 w 1115"/>
                <a:gd name="T37" fmla="*/ 869 h 983"/>
                <a:gd name="T38" fmla="*/ 973 w 1115"/>
                <a:gd name="T39" fmla="*/ 897 h 983"/>
                <a:gd name="T40" fmla="*/ 1011 w 1115"/>
                <a:gd name="T41" fmla="*/ 912 h 983"/>
                <a:gd name="T42" fmla="*/ 1046 w 1115"/>
                <a:gd name="T43" fmla="*/ 949 h 983"/>
                <a:gd name="T44" fmla="*/ 1066 w 1115"/>
                <a:gd name="T45" fmla="*/ 951 h 983"/>
                <a:gd name="T46" fmla="*/ 1086 w 1115"/>
                <a:gd name="T47" fmla="*/ 947 h 983"/>
                <a:gd name="T48" fmla="*/ 1115 w 1115"/>
                <a:gd name="T49" fmla="*/ 922 h 983"/>
                <a:gd name="T50" fmla="*/ 1070 w 1115"/>
                <a:gd name="T51" fmla="*/ 899 h 983"/>
                <a:gd name="T52" fmla="*/ 1033 w 1115"/>
                <a:gd name="T53" fmla="*/ 879 h 983"/>
                <a:gd name="T54" fmla="*/ 978 w 1115"/>
                <a:gd name="T55" fmla="*/ 828 h 983"/>
                <a:gd name="T56" fmla="*/ 1017 w 1115"/>
                <a:gd name="T57" fmla="*/ 804 h 983"/>
                <a:gd name="T58" fmla="*/ 1040 w 1115"/>
                <a:gd name="T59" fmla="*/ 774 h 983"/>
                <a:gd name="T60" fmla="*/ 1060 w 1115"/>
                <a:gd name="T61" fmla="*/ 737 h 983"/>
                <a:gd name="T62" fmla="*/ 1028 w 1115"/>
                <a:gd name="T63" fmla="*/ 711 h 983"/>
                <a:gd name="T64" fmla="*/ 967 w 1115"/>
                <a:gd name="T65" fmla="*/ 761 h 983"/>
                <a:gd name="T66" fmla="*/ 930 w 1115"/>
                <a:gd name="T67" fmla="*/ 720 h 983"/>
                <a:gd name="T68" fmla="*/ 950 w 1115"/>
                <a:gd name="T69" fmla="*/ 721 h 983"/>
                <a:gd name="T70" fmla="*/ 946 w 1115"/>
                <a:gd name="T71" fmla="*/ 702 h 983"/>
                <a:gd name="T72" fmla="*/ 934 w 1115"/>
                <a:gd name="T73" fmla="*/ 703 h 983"/>
                <a:gd name="T74" fmla="*/ 893 w 1115"/>
                <a:gd name="T75" fmla="*/ 720 h 983"/>
                <a:gd name="T76" fmla="*/ 798 w 1115"/>
                <a:gd name="T77" fmla="*/ 713 h 983"/>
                <a:gd name="T78" fmla="*/ 831 w 1115"/>
                <a:gd name="T79" fmla="*/ 641 h 983"/>
                <a:gd name="T80" fmla="*/ 891 w 1115"/>
                <a:gd name="T81" fmla="*/ 668 h 983"/>
                <a:gd name="T82" fmla="*/ 916 w 1115"/>
                <a:gd name="T83" fmla="*/ 567 h 983"/>
                <a:gd name="T84" fmla="*/ 527 w 1115"/>
                <a:gd name="T85" fmla="*/ 499 h 983"/>
                <a:gd name="T86" fmla="*/ 575 w 1115"/>
                <a:gd name="T87" fmla="*/ 314 h 983"/>
                <a:gd name="T88" fmla="*/ 622 w 1115"/>
                <a:gd name="T89" fmla="*/ 195 h 983"/>
                <a:gd name="T90" fmla="*/ 596 w 1115"/>
                <a:gd name="T91" fmla="*/ 0 h 9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15"/>
                <a:gd name="T139" fmla="*/ 0 h 983"/>
                <a:gd name="T140" fmla="*/ 1115 w 1115"/>
                <a:gd name="T141" fmla="*/ 983 h 9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15" h="983">
                  <a:moveTo>
                    <a:pt x="0" y="8"/>
                  </a:moveTo>
                  <a:lnTo>
                    <a:pt x="13" y="271"/>
                  </a:lnTo>
                  <a:lnTo>
                    <a:pt x="43" y="305"/>
                  </a:lnTo>
                  <a:lnTo>
                    <a:pt x="55" y="372"/>
                  </a:lnTo>
                  <a:lnTo>
                    <a:pt x="115" y="466"/>
                  </a:lnTo>
                  <a:lnTo>
                    <a:pt x="113" y="546"/>
                  </a:lnTo>
                  <a:lnTo>
                    <a:pt x="77" y="622"/>
                  </a:lnTo>
                  <a:lnTo>
                    <a:pt x="80" y="663"/>
                  </a:lnTo>
                  <a:lnTo>
                    <a:pt x="91" y="707"/>
                  </a:lnTo>
                  <a:lnTo>
                    <a:pt x="86" y="750"/>
                  </a:lnTo>
                  <a:lnTo>
                    <a:pt x="65" y="778"/>
                  </a:lnTo>
                  <a:lnTo>
                    <a:pt x="38" y="812"/>
                  </a:lnTo>
                  <a:lnTo>
                    <a:pt x="57" y="833"/>
                  </a:lnTo>
                  <a:lnTo>
                    <a:pt x="207" y="814"/>
                  </a:lnTo>
                  <a:lnTo>
                    <a:pt x="328" y="863"/>
                  </a:lnTo>
                  <a:lnTo>
                    <a:pt x="444" y="857"/>
                  </a:lnTo>
                  <a:lnTo>
                    <a:pt x="429" y="823"/>
                  </a:lnTo>
                  <a:lnTo>
                    <a:pt x="466" y="794"/>
                  </a:lnTo>
                  <a:lnTo>
                    <a:pt x="546" y="812"/>
                  </a:lnTo>
                  <a:lnTo>
                    <a:pt x="560" y="869"/>
                  </a:lnTo>
                  <a:lnTo>
                    <a:pt x="582" y="862"/>
                  </a:lnTo>
                  <a:lnTo>
                    <a:pt x="617" y="875"/>
                  </a:lnTo>
                  <a:lnTo>
                    <a:pt x="650" y="910"/>
                  </a:lnTo>
                  <a:lnTo>
                    <a:pt x="659" y="942"/>
                  </a:lnTo>
                  <a:lnTo>
                    <a:pt x="693" y="947"/>
                  </a:lnTo>
                  <a:lnTo>
                    <a:pt x="725" y="969"/>
                  </a:lnTo>
                  <a:lnTo>
                    <a:pt x="753" y="958"/>
                  </a:lnTo>
                  <a:lnTo>
                    <a:pt x="776" y="932"/>
                  </a:lnTo>
                  <a:lnTo>
                    <a:pt x="773" y="910"/>
                  </a:lnTo>
                  <a:lnTo>
                    <a:pt x="806" y="939"/>
                  </a:lnTo>
                  <a:lnTo>
                    <a:pt x="825" y="914"/>
                  </a:lnTo>
                  <a:lnTo>
                    <a:pt x="849" y="963"/>
                  </a:lnTo>
                  <a:lnTo>
                    <a:pt x="884" y="939"/>
                  </a:lnTo>
                  <a:lnTo>
                    <a:pt x="896" y="924"/>
                  </a:lnTo>
                  <a:lnTo>
                    <a:pt x="884" y="910"/>
                  </a:lnTo>
                  <a:lnTo>
                    <a:pt x="887" y="865"/>
                  </a:lnTo>
                  <a:lnTo>
                    <a:pt x="898" y="865"/>
                  </a:lnTo>
                  <a:lnTo>
                    <a:pt x="930" y="869"/>
                  </a:lnTo>
                  <a:lnTo>
                    <a:pt x="939" y="899"/>
                  </a:lnTo>
                  <a:lnTo>
                    <a:pt x="973" y="897"/>
                  </a:lnTo>
                  <a:lnTo>
                    <a:pt x="1004" y="918"/>
                  </a:lnTo>
                  <a:lnTo>
                    <a:pt x="1011" y="912"/>
                  </a:lnTo>
                  <a:lnTo>
                    <a:pt x="1024" y="935"/>
                  </a:lnTo>
                  <a:lnTo>
                    <a:pt x="1046" y="949"/>
                  </a:lnTo>
                  <a:lnTo>
                    <a:pt x="1035" y="983"/>
                  </a:lnTo>
                  <a:lnTo>
                    <a:pt x="1066" y="951"/>
                  </a:lnTo>
                  <a:lnTo>
                    <a:pt x="1087" y="970"/>
                  </a:lnTo>
                  <a:lnTo>
                    <a:pt x="1086" y="947"/>
                  </a:lnTo>
                  <a:lnTo>
                    <a:pt x="1113" y="939"/>
                  </a:lnTo>
                  <a:lnTo>
                    <a:pt x="1115" y="922"/>
                  </a:lnTo>
                  <a:lnTo>
                    <a:pt x="1085" y="917"/>
                  </a:lnTo>
                  <a:lnTo>
                    <a:pt x="1070" y="899"/>
                  </a:lnTo>
                  <a:lnTo>
                    <a:pt x="1044" y="903"/>
                  </a:lnTo>
                  <a:lnTo>
                    <a:pt x="1033" y="879"/>
                  </a:lnTo>
                  <a:lnTo>
                    <a:pt x="1004" y="879"/>
                  </a:lnTo>
                  <a:lnTo>
                    <a:pt x="978" y="828"/>
                  </a:lnTo>
                  <a:lnTo>
                    <a:pt x="993" y="815"/>
                  </a:lnTo>
                  <a:lnTo>
                    <a:pt x="1017" y="804"/>
                  </a:lnTo>
                  <a:lnTo>
                    <a:pt x="1022" y="778"/>
                  </a:lnTo>
                  <a:lnTo>
                    <a:pt x="1040" y="774"/>
                  </a:lnTo>
                  <a:lnTo>
                    <a:pt x="1070" y="747"/>
                  </a:lnTo>
                  <a:lnTo>
                    <a:pt x="1060" y="737"/>
                  </a:lnTo>
                  <a:lnTo>
                    <a:pt x="1061" y="685"/>
                  </a:lnTo>
                  <a:lnTo>
                    <a:pt x="1028" y="711"/>
                  </a:lnTo>
                  <a:lnTo>
                    <a:pt x="995" y="716"/>
                  </a:lnTo>
                  <a:lnTo>
                    <a:pt x="967" y="761"/>
                  </a:lnTo>
                  <a:lnTo>
                    <a:pt x="922" y="737"/>
                  </a:lnTo>
                  <a:lnTo>
                    <a:pt x="930" y="720"/>
                  </a:lnTo>
                  <a:lnTo>
                    <a:pt x="949" y="713"/>
                  </a:lnTo>
                  <a:lnTo>
                    <a:pt x="950" y="721"/>
                  </a:lnTo>
                  <a:lnTo>
                    <a:pt x="963" y="694"/>
                  </a:lnTo>
                  <a:lnTo>
                    <a:pt x="946" y="702"/>
                  </a:lnTo>
                  <a:lnTo>
                    <a:pt x="939" y="690"/>
                  </a:lnTo>
                  <a:lnTo>
                    <a:pt x="934" y="703"/>
                  </a:lnTo>
                  <a:lnTo>
                    <a:pt x="911" y="693"/>
                  </a:lnTo>
                  <a:lnTo>
                    <a:pt x="893" y="720"/>
                  </a:lnTo>
                  <a:lnTo>
                    <a:pt x="858" y="726"/>
                  </a:lnTo>
                  <a:lnTo>
                    <a:pt x="798" y="713"/>
                  </a:lnTo>
                  <a:lnTo>
                    <a:pt x="793" y="696"/>
                  </a:lnTo>
                  <a:lnTo>
                    <a:pt x="831" y="641"/>
                  </a:lnTo>
                  <a:lnTo>
                    <a:pt x="868" y="643"/>
                  </a:lnTo>
                  <a:lnTo>
                    <a:pt x="891" y="668"/>
                  </a:lnTo>
                  <a:lnTo>
                    <a:pt x="986" y="684"/>
                  </a:lnTo>
                  <a:lnTo>
                    <a:pt x="916" y="567"/>
                  </a:lnTo>
                  <a:lnTo>
                    <a:pt x="928" y="483"/>
                  </a:lnTo>
                  <a:lnTo>
                    <a:pt x="527" y="499"/>
                  </a:lnTo>
                  <a:lnTo>
                    <a:pt x="530" y="453"/>
                  </a:lnTo>
                  <a:lnTo>
                    <a:pt x="575" y="314"/>
                  </a:lnTo>
                  <a:lnTo>
                    <a:pt x="644" y="221"/>
                  </a:lnTo>
                  <a:lnTo>
                    <a:pt x="622" y="195"/>
                  </a:lnTo>
                  <a:lnTo>
                    <a:pt x="630" y="105"/>
                  </a:lnTo>
                  <a:lnTo>
                    <a:pt x="596" y="0"/>
                  </a:lnTo>
                  <a:lnTo>
                    <a:pt x="0" y="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1" name="Freeform 54">
              <a:extLst>
                <a:ext uri="{FF2B5EF4-FFF2-40B4-BE49-F238E27FC236}">
                  <a16:creationId xmlns:a16="http://schemas.microsoft.com/office/drawing/2014/main" id="{8EEF38AF-1077-430E-ADB7-AFAC02B5C5FF}"/>
                </a:ext>
              </a:extLst>
            </p:cNvPr>
            <p:cNvSpPr>
              <a:spLocks/>
            </p:cNvSpPr>
            <p:nvPr/>
          </p:nvSpPr>
          <p:spPr bwMode="gray">
            <a:xfrm>
              <a:off x="5267758" y="1331690"/>
              <a:ext cx="352766" cy="560332"/>
            </a:xfrm>
            <a:custGeom>
              <a:avLst/>
              <a:gdLst>
                <a:gd name="T0" fmla="*/ 0 w 724"/>
                <a:gd name="T1" fmla="*/ 624 h 1150"/>
                <a:gd name="T2" fmla="*/ 42 w 724"/>
                <a:gd name="T3" fmla="*/ 626 h 1150"/>
                <a:gd name="T4" fmla="*/ 46 w 724"/>
                <a:gd name="T5" fmla="*/ 553 h 1150"/>
                <a:gd name="T6" fmla="*/ 96 w 724"/>
                <a:gd name="T7" fmla="*/ 449 h 1150"/>
                <a:gd name="T8" fmla="*/ 73 w 724"/>
                <a:gd name="T9" fmla="*/ 374 h 1150"/>
                <a:gd name="T10" fmla="*/ 94 w 724"/>
                <a:gd name="T11" fmla="*/ 276 h 1150"/>
                <a:gd name="T12" fmla="*/ 92 w 724"/>
                <a:gd name="T13" fmla="*/ 237 h 1150"/>
                <a:gd name="T14" fmla="*/ 174 w 724"/>
                <a:gd name="T15" fmla="*/ 19 h 1150"/>
                <a:gd name="T16" fmla="*/ 198 w 724"/>
                <a:gd name="T17" fmla="*/ 19 h 1150"/>
                <a:gd name="T18" fmla="*/ 209 w 724"/>
                <a:gd name="T19" fmla="*/ 63 h 1150"/>
                <a:gd name="T20" fmla="*/ 313 w 724"/>
                <a:gd name="T21" fmla="*/ 24 h 1150"/>
                <a:gd name="T22" fmla="*/ 314 w 724"/>
                <a:gd name="T23" fmla="*/ 7 h 1150"/>
                <a:gd name="T24" fmla="*/ 343 w 724"/>
                <a:gd name="T25" fmla="*/ 0 h 1150"/>
                <a:gd name="T26" fmla="*/ 397 w 724"/>
                <a:gd name="T27" fmla="*/ 26 h 1150"/>
                <a:gd name="T28" fmla="*/ 438 w 724"/>
                <a:gd name="T29" fmla="*/ 61 h 1150"/>
                <a:gd name="T30" fmla="*/ 531 w 724"/>
                <a:gd name="T31" fmla="*/ 379 h 1150"/>
                <a:gd name="T32" fmla="*/ 595 w 724"/>
                <a:gd name="T33" fmla="*/ 380 h 1150"/>
                <a:gd name="T34" fmla="*/ 606 w 724"/>
                <a:gd name="T35" fmla="*/ 399 h 1150"/>
                <a:gd name="T36" fmla="*/ 596 w 724"/>
                <a:gd name="T37" fmla="*/ 412 h 1150"/>
                <a:gd name="T38" fmla="*/ 644 w 724"/>
                <a:gd name="T39" fmla="*/ 484 h 1150"/>
                <a:gd name="T40" fmla="*/ 655 w 724"/>
                <a:gd name="T41" fmla="*/ 468 h 1150"/>
                <a:gd name="T42" fmla="*/ 706 w 724"/>
                <a:gd name="T43" fmla="*/ 516 h 1150"/>
                <a:gd name="T44" fmla="*/ 687 w 724"/>
                <a:gd name="T45" fmla="*/ 528 h 1150"/>
                <a:gd name="T46" fmla="*/ 691 w 724"/>
                <a:gd name="T47" fmla="*/ 542 h 1150"/>
                <a:gd name="T48" fmla="*/ 724 w 724"/>
                <a:gd name="T49" fmla="*/ 541 h 1150"/>
                <a:gd name="T50" fmla="*/ 700 w 724"/>
                <a:gd name="T51" fmla="*/ 601 h 1150"/>
                <a:gd name="T52" fmla="*/ 670 w 724"/>
                <a:gd name="T53" fmla="*/ 595 h 1150"/>
                <a:gd name="T54" fmla="*/ 644 w 724"/>
                <a:gd name="T55" fmla="*/ 618 h 1150"/>
                <a:gd name="T56" fmla="*/ 646 w 724"/>
                <a:gd name="T57" fmla="*/ 643 h 1150"/>
                <a:gd name="T58" fmla="*/ 625 w 724"/>
                <a:gd name="T59" fmla="*/ 656 h 1150"/>
                <a:gd name="T60" fmla="*/ 600 w 724"/>
                <a:gd name="T61" fmla="*/ 649 h 1150"/>
                <a:gd name="T62" fmla="*/ 601 w 724"/>
                <a:gd name="T63" fmla="*/ 686 h 1150"/>
                <a:gd name="T64" fmla="*/ 582 w 724"/>
                <a:gd name="T65" fmla="*/ 676 h 1150"/>
                <a:gd name="T66" fmla="*/ 576 w 724"/>
                <a:gd name="T67" fmla="*/ 718 h 1150"/>
                <a:gd name="T68" fmla="*/ 542 w 724"/>
                <a:gd name="T69" fmla="*/ 682 h 1150"/>
                <a:gd name="T70" fmla="*/ 516 w 724"/>
                <a:gd name="T71" fmla="*/ 716 h 1150"/>
                <a:gd name="T72" fmla="*/ 485 w 724"/>
                <a:gd name="T73" fmla="*/ 730 h 1150"/>
                <a:gd name="T74" fmla="*/ 479 w 724"/>
                <a:gd name="T75" fmla="*/ 766 h 1150"/>
                <a:gd name="T76" fmla="*/ 447 w 724"/>
                <a:gd name="T77" fmla="*/ 757 h 1150"/>
                <a:gd name="T78" fmla="*/ 460 w 724"/>
                <a:gd name="T79" fmla="*/ 727 h 1150"/>
                <a:gd name="T80" fmla="*/ 438 w 724"/>
                <a:gd name="T81" fmla="*/ 698 h 1150"/>
                <a:gd name="T82" fmla="*/ 414 w 724"/>
                <a:gd name="T83" fmla="*/ 743 h 1150"/>
                <a:gd name="T84" fmla="*/ 423 w 724"/>
                <a:gd name="T85" fmla="*/ 835 h 1150"/>
                <a:gd name="T86" fmla="*/ 407 w 724"/>
                <a:gd name="T87" fmla="*/ 858 h 1150"/>
                <a:gd name="T88" fmla="*/ 387 w 724"/>
                <a:gd name="T89" fmla="*/ 861 h 1150"/>
                <a:gd name="T90" fmla="*/ 369 w 724"/>
                <a:gd name="T91" fmla="*/ 857 h 1150"/>
                <a:gd name="T92" fmla="*/ 346 w 724"/>
                <a:gd name="T93" fmla="*/ 913 h 1150"/>
                <a:gd name="T94" fmla="*/ 314 w 724"/>
                <a:gd name="T95" fmla="*/ 911 h 1150"/>
                <a:gd name="T96" fmla="*/ 317 w 724"/>
                <a:gd name="T97" fmla="*/ 957 h 1150"/>
                <a:gd name="T98" fmla="*/ 297 w 724"/>
                <a:gd name="T99" fmla="*/ 921 h 1150"/>
                <a:gd name="T100" fmla="*/ 250 w 724"/>
                <a:gd name="T101" fmla="*/ 960 h 1150"/>
                <a:gd name="T102" fmla="*/ 242 w 724"/>
                <a:gd name="T103" fmla="*/ 989 h 1150"/>
                <a:gd name="T104" fmla="*/ 257 w 724"/>
                <a:gd name="T105" fmla="*/ 1009 h 1150"/>
                <a:gd name="T106" fmla="*/ 237 w 724"/>
                <a:gd name="T107" fmla="*/ 1020 h 1150"/>
                <a:gd name="T108" fmla="*/ 241 w 724"/>
                <a:gd name="T109" fmla="*/ 1054 h 1150"/>
                <a:gd name="T110" fmla="*/ 219 w 724"/>
                <a:gd name="T111" fmla="*/ 1079 h 1150"/>
                <a:gd name="T112" fmla="*/ 213 w 724"/>
                <a:gd name="T113" fmla="*/ 1150 h 1150"/>
                <a:gd name="T114" fmla="*/ 202 w 724"/>
                <a:gd name="T115" fmla="*/ 1150 h 1150"/>
                <a:gd name="T116" fmla="*/ 134 w 724"/>
                <a:gd name="T117" fmla="*/ 1055 h 1150"/>
                <a:gd name="T118" fmla="*/ 0 w 724"/>
                <a:gd name="T119" fmla="*/ 624 h 1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24"/>
                <a:gd name="T181" fmla="*/ 0 h 1150"/>
                <a:gd name="T182" fmla="*/ 724 w 724"/>
                <a:gd name="T183" fmla="*/ 1150 h 1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24" h="1150">
                  <a:moveTo>
                    <a:pt x="0" y="624"/>
                  </a:moveTo>
                  <a:lnTo>
                    <a:pt x="42" y="626"/>
                  </a:lnTo>
                  <a:lnTo>
                    <a:pt x="46" y="553"/>
                  </a:lnTo>
                  <a:lnTo>
                    <a:pt x="96" y="449"/>
                  </a:lnTo>
                  <a:lnTo>
                    <a:pt x="73" y="374"/>
                  </a:lnTo>
                  <a:lnTo>
                    <a:pt x="94" y="276"/>
                  </a:lnTo>
                  <a:lnTo>
                    <a:pt x="92" y="237"/>
                  </a:lnTo>
                  <a:lnTo>
                    <a:pt x="174" y="19"/>
                  </a:lnTo>
                  <a:lnTo>
                    <a:pt x="198" y="19"/>
                  </a:lnTo>
                  <a:lnTo>
                    <a:pt x="209" y="63"/>
                  </a:lnTo>
                  <a:lnTo>
                    <a:pt x="313" y="24"/>
                  </a:lnTo>
                  <a:lnTo>
                    <a:pt x="314" y="7"/>
                  </a:lnTo>
                  <a:lnTo>
                    <a:pt x="343" y="0"/>
                  </a:lnTo>
                  <a:lnTo>
                    <a:pt x="397" y="26"/>
                  </a:lnTo>
                  <a:lnTo>
                    <a:pt x="438" y="61"/>
                  </a:lnTo>
                  <a:lnTo>
                    <a:pt x="531" y="379"/>
                  </a:lnTo>
                  <a:lnTo>
                    <a:pt x="595" y="380"/>
                  </a:lnTo>
                  <a:lnTo>
                    <a:pt x="606" y="399"/>
                  </a:lnTo>
                  <a:lnTo>
                    <a:pt x="596" y="412"/>
                  </a:lnTo>
                  <a:lnTo>
                    <a:pt x="644" y="484"/>
                  </a:lnTo>
                  <a:lnTo>
                    <a:pt x="655" y="468"/>
                  </a:lnTo>
                  <a:lnTo>
                    <a:pt x="706" y="516"/>
                  </a:lnTo>
                  <a:lnTo>
                    <a:pt x="687" y="528"/>
                  </a:lnTo>
                  <a:lnTo>
                    <a:pt x="691" y="542"/>
                  </a:lnTo>
                  <a:lnTo>
                    <a:pt x="724" y="541"/>
                  </a:lnTo>
                  <a:lnTo>
                    <a:pt x="700" y="601"/>
                  </a:lnTo>
                  <a:lnTo>
                    <a:pt x="670" y="595"/>
                  </a:lnTo>
                  <a:lnTo>
                    <a:pt x="644" y="618"/>
                  </a:lnTo>
                  <a:lnTo>
                    <a:pt x="646" y="643"/>
                  </a:lnTo>
                  <a:lnTo>
                    <a:pt x="625" y="656"/>
                  </a:lnTo>
                  <a:lnTo>
                    <a:pt x="600" y="649"/>
                  </a:lnTo>
                  <a:lnTo>
                    <a:pt x="601" y="686"/>
                  </a:lnTo>
                  <a:lnTo>
                    <a:pt x="582" y="676"/>
                  </a:lnTo>
                  <a:lnTo>
                    <a:pt x="576" y="718"/>
                  </a:lnTo>
                  <a:lnTo>
                    <a:pt x="542" y="682"/>
                  </a:lnTo>
                  <a:lnTo>
                    <a:pt x="516" y="716"/>
                  </a:lnTo>
                  <a:lnTo>
                    <a:pt x="485" y="730"/>
                  </a:lnTo>
                  <a:lnTo>
                    <a:pt x="479" y="766"/>
                  </a:lnTo>
                  <a:lnTo>
                    <a:pt x="447" y="757"/>
                  </a:lnTo>
                  <a:lnTo>
                    <a:pt x="460" y="727"/>
                  </a:lnTo>
                  <a:lnTo>
                    <a:pt x="438" y="698"/>
                  </a:lnTo>
                  <a:lnTo>
                    <a:pt x="414" y="743"/>
                  </a:lnTo>
                  <a:lnTo>
                    <a:pt x="423" y="835"/>
                  </a:lnTo>
                  <a:lnTo>
                    <a:pt x="407" y="858"/>
                  </a:lnTo>
                  <a:lnTo>
                    <a:pt x="387" y="861"/>
                  </a:lnTo>
                  <a:lnTo>
                    <a:pt x="369" y="857"/>
                  </a:lnTo>
                  <a:lnTo>
                    <a:pt x="346" y="913"/>
                  </a:lnTo>
                  <a:lnTo>
                    <a:pt x="314" y="911"/>
                  </a:lnTo>
                  <a:lnTo>
                    <a:pt x="317" y="957"/>
                  </a:lnTo>
                  <a:lnTo>
                    <a:pt x="297" y="921"/>
                  </a:lnTo>
                  <a:lnTo>
                    <a:pt x="250" y="960"/>
                  </a:lnTo>
                  <a:lnTo>
                    <a:pt x="242" y="989"/>
                  </a:lnTo>
                  <a:lnTo>
                    <a:pt x="257" y="1009"/>
                  </a:lnTo>
                  <a:lnTo>
                    <a:pt x="237" y="1020"/>
                  </a:lnTo>
                  <a:lnTo>
                    <a:pt x="241" y="1054"/>
                  </a:lnTo>
                  <a:lnTo>
                    <a:pt x="219" y="1079"/>
                  </a:lnTo>
                  <a:lnTo>
                    <a:pt x="213" y="1150"/>
                  </a:lnTo>
                  <a:lnTo>
                    <a:pt x="202" y="1150"/>
                  </a:lnTo>
                  <a:lnTo>
                    <a:pt x="134" y="1055"/>
                  </a:lnTo>
                  <a:lnTo>
                    <a:pt x="0" y="62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2" name="Freeform 55">
              <a:extLst>
                <a:ext uri="{FF2B5EF4-FFF2-40B4-BE49-F238E27FC236}">
                  <a16:creationId xmlns:a16="http://schemas.microsoft.com/office/drawing/2014/main" id="{C2781E2F-E988-42F6-B428-899EECED5376}"/>
                </a:ext>
              </a:extLst>
            </p:cNvPr>
            <p:cNvSpPr>
              <a:spLocks/>
            </p:cNvSpPr>
            <p:nvPr/>
          </p:nvSpPr>
          <p:spPr bwMode="gray">
            <a:xfrm>
              <a:off x="4675268" y="2399732"/>
              <a:ext cx="439495" cy="217311"/>
            </a:xfrm>
            <a:custGeom>
              <a:avLst/>
              <a:gdLst>
                <a:gd name="T0" fmla="*/ 23 w 901"/>
                <a:gd name="T1" fmla="*/ 260 h 447"/>
                <a:gd name="T2" fmla="*/ 198 w 901"/>
                <a:gd name="T3" fmla="*/ 150 h 447"/>
                <a:gd name="T4" fmla="*/ 277 w 901"/>
                <a:gd name="T5" fmla="*/ 110 h 447"/>
                <a:gd name="T6" fmla="*/ 354 w 901"/>
                <a:gd name="T7" fmla="*/ 171 h 447"/>
                <a:gd name="T8" fmla="*/ 436 w 901"/>
                <a:gd name="T9" fmla="*/ 224 h 447"/>
                <a:gd name="T10" fmla="*/ 503 w 901"/>
                <a:gd name="T11" fmla="*/ 233 h 447"/>
                <a:gd name="T12" fmla="*/ 503 w 901"/>
                <a:gd name="T13" fmla="*/ 276 h 447"/>
                <a:gd name="T14" fmla="*/ 469 w 901"/>
                <a:gd name="T15" fmla="*/ 361 h 447"/>
                <a:gd name="T16" fmla="*/ 521 w 901"/>
                <a:gd name="T17" fmla="*/ 382 h 447"/>
                <a:gd name="T18" fmla="*/ 554 w 901"/>
                <a:gd name="T19" fmla="*/ 401 h 447"/>
                <a:gd name="T20" fmla="*/ 582 w 901"/>
                <a:gd name="T21" fmla="*/ 410 h 447"/>
                <a:gd name="T22" fmla="*/ 627 w 901"/>
                <a:gd name="T23" fmla="*/ 412 h 447"/>
                <a:gd name="T24" fmla="*/ 678 w 901"/>
                <a:gd name="T25" fmla="*/ 436 h 447"/>
                <a:gd name="T26" fmla="*/ 592 w 901"/>
                <a:gd name="T27" fmla="*/ 342 h 447"/>
                <a:gd name="T28" fmla="*/ 614 w 901"/>
                <a:gd name="T29" fmla="*/ 322 h 447"/>
                <a:gd name="T30" fmla="*/ 608 w 901"/>
                <a:gd name="T31" fmla="*/ 180 h 447"/>
                <a:gd name="T32" fmla="*/ 646 w 901"/>
                <a:gd name="T33" fmla="*/ 94 h 447"/>
                <a:gd name="T34" fmla="*/ 690 w 901"/>
                <a:gd name="T35" fmla="*/ 57 h 447"/>
                <a:gd name="T36" fmla="*/ 652 w 901"/>
                <a:gd name="T37" fmla="*/ 106 h 447"/>
                <a:gd name="T38" fmla="*/ 646 w 901"/>
                <a:gd name="T39" fmla="*/ 179 h 447"/>
                <a:gd name="T40" fmla="*/ 655 w 901"/>
                <a:gd name="T41" fmla="*/ 206 h 447"/>
                <a:gd name="T42" fmla="*/ 670 w 901"/>
                <a:gd name="T43" fmla="*/ 248 h 447"/>
                <a:gd name="T44" fmla="*/ 642 w 901"/>
                <a:gd name="T45" fmla="*/ 267 h 447"/>
                <a:gd name="T46" fmla="*/ 683 w 901"/>
                <a:gd name="T47" fmla="*/ 279 h 447"/>
                <a:gd name="T48" fmla="*/ 663 w 901"/>
                <a:gd name="T49" fmla="*/ 293 h 447"/>
                <a:gd name="T50" fmla="*/ 723 w 901"/>
                <a:gd name="T51" fmla="*/ 380 h 447"/>
                <a:gd name="T52" fmla="*/ 749 w 901"/>
                <a:gd name="T53" fmla="*/ 400 h 447"/>
                <a:gd name="T54" fmla="*/ 764 w 901"/>
                <a:gd name="T55" fmla="*/ 412 h 447"/>
                <a:gd name="T56" fmla="*/ 768 w 901"/>
                <a:gd name="T57" fmla="*/ 439 h 447"/>
                <a:gd name="T58" fmla="*/ 816 w 901"/>
                <a:gd name="T59" fmla="*/ 429 h 447"/>
                <a:gd name="T60" fmla="*/ 881 w 901"/>
                <a:gd name="T61" fmla="*/ 344 h 447"/>
                <a:gd name="T62" fmla="*/ 881 w 901"/>
                <a:gd name="T63" fmla="*/ 395 h 447"/>
                <a:gd name="T64" fmla="*/ 874 w 901"/>
                <a:gd name="T65" fmla="*/ 443 h 447"/>
                <a:gd name="T66" fmla="*/ 901 w 901"/>
                <a:gd name="T67" fmla="*/ 284 h 447"/>
                <a:gd name="T68" fmla="*/ 776 w 901"/>
                <a:gd name="T69" fmla="*/ 309 h 447"/>
                <a:gd name="T70" fmla="*/ 693 w 901"/>
                <a:gd name="T71" fmla="*/ 0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1"/>
                <a:gd name="T109" fmla="*/ 0 h 447"/>
                <a:gd name="T110" fmla="*/ 901 w 901"/>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1" h="447">
                  <a:moveTo>
                    <a:pt x="0" y="133"/>
                  </a:moveTo>
                  <a:lnTo>
                    <a:pt x="23" y="260"/>
                  </a:lnTo>
                  <a:lnTo>
                    <a:pt x="91" y="180"/>
                  </a:lnTo>
                  <a:lnTo>
                    <a:pt x="198" y="150"/>
                  </a:lnTo>
                  <a:lnTo>
                    <a:pt x="219" y="116"/>
                  </a:lnTo>
                  <a:lnTo>
                    <a:pt x="277" y="110"/>
                  </a:lnTo>
                  <a:lnTo>
                    <a:pt x="326" y="132"/>
                  </a:lnTo>
                  <a:lnTo>
                    <a:pt x="354" y="171"/>
                  </a:lnTo>
                  <a:lnTo>
                    <a:pt x="406" y="186"/>
                  </a:lnTo>
                  <a:lnTo>
                    <a:pt x="436" y="224"/>
                  </a:lnTo>
                  <a:lnTo>
                    <a:pt x="482" y="245"/>
                  </a:lnTo>
                  <a:lnTo>
                    <a:pt x="503" y="233"/>
                  </a:lnTo>
                  <a:lnTo>
                    <a:pt x="514" y="257"/>
                  </a:lnTo>
                  <a:lnTo>
                    <a:pt x="503" y="276"/>
                  </a:lnTo>
                  <a:lnTo>
                    <a:pt x="502" y="304"/>
                  </a:lnTo>
                  <a:lnTo>
                    <a:pt x="469" y="361"/>
                  </a:lnTo>
                  <a:lnTo>
                    <a:pt x="482" y="399"/>
                  </a:lnTo>
                  <a:lnTo>
                    <a:pt x="521" y="382"/>
                  </a:lnTo>
                  <a:lnTo>
                    <a:pt x="523" y="363"/>
                  </a:lnTo>
                  <a:lnTo>
                    <a:pt x="554" y="401"/>
                  </a:lnTo>
                  <a:lnTo>
                    <a:pt x="561" y="383"/>
                  </a:lnTo>
                  <a:lnTo>
                    <a:pt x="582" y="410"/>
                  </a:lnTo>
                  <a:lnTo>
                    <a:pt x="593" y="396"/>
                  </a:lnTo>
                  <a:lnTo>
                    <a:pt x="627" y="412"/>
                  </a:lnTo>
                  <a:lnTo>
                    <a:pt x="646" y="403"/>
                  </a:lnTo>
                  <a:lnTo>
                    <a:pt x="678" y="436"/>
                  </a:lnTo>
                  <a:lnTo>
                    <a:pt x="653" y="388"/>
                  </a:lnTo>
                  <a:lnTo>
                    <a:pt x="592" y="342"/>
                  </a:lnTo>
                  <a:lnTo>
                    <a:pt x="650" y="370"/>
                  </a:lnTo>
                  <a:lnTo>
                    <a:pt x="614" y="322"/>
                  </a:lnTo>
                  <a:lnTo>
                    <a:pt x="603" y="279"/>
                  </a:lnTo>
                  <a:lnTo>
                    <a:pt x="608" y="180"/>
                  </a:lnTo>
                  <a:lnTo>
                    <a:pt x="572" y="159"/>
                  </a:lnTo>
                  <a:lnTo>
                    <a:pt x="646" y="94"/>
                  </a:lnTo>
                  <a:lnTo>
                    <a:pt x="648" y="55"/>
                  </a:lnTo>
                  <a:lnTo>
                    <a:pt x="690" y="57"/>
                  </a:lnTo>
                  <a:lnTo>
                    <a:pt x="681" y="93"/>
                  </a:lnTo>
                  <a:lnTo>
                    <a:pt x="652" y="106"/>
                  </a:lnTo>
                  <a:lnTo>
                    <a:pt x="638" y="145"/>
                  </a:lnTo>
                  <a:lnTo>
                    <a:pt x="646" y="179"/>
                  </a:lnTo>
                  <a:lnTo>
                    <a:pt x="666" y="165"/>
                  </a:lnTo>
                  <a:lnTo>
                    <a:pt x="655" y="206"/>
                  </a:lnTo>
                  <a:lnTo>
                    <a:pt x="664" y="227"/>
                  </a:lnTo>
                  <a:lnTo>
                    <a:pt x="670" y="248"/>
                  </a:lnTo>
                  <a:lnTo>
                    <a:pt x="650" y="238"/>
                  </a:lnTo>
                  <a:lnTo>
                    <a:pt x="642" y="267"/>
                  </a:lnTo>
                  <a:lnTo>
                    <a:pt x="686" y="258"/>
                  </a:lnTo>
                  <a:lnTo>
                    <a:pt x="683" y="279"/>
                  </a:lnTo>
                  <a:lnTo>
                    <a:pt x="704" y="295"/>
                  </a:lnTo>
                  <a:lnTo>
                    <a:pt x="663" y="293"/>
                  </a:lnTo>
                  <a:lnTo>
                    <a:pt x="676" y="355"/>
                  </a:lnTo>
                  <a:lnTo>
                    <a:pt x="723" y="380"/>
                  </a:lnTo>
                  <a:lnTo>
                    <a:pt x="746" y="349"/>
                  </a:lnTo>
                  <a:lnTo>
                    <a:pt x="749" y="400"/>
                  </a:lnTo>
                  <a:lnTo>
                    <a:pt x="780" y="390"/>
                  </a:lnTo>
                  <a:lnTo>
                    <a:pt x="764" y="412"/>
                  </a:lnTo>
                  <a:lnTo>
                    <a:pt x="785" y="412"/>
                  </a:lnTo>
                  <a:lnTo>
                    <a:pt x="768" y="439"/>
                  </a:lnTo>
                  <a:lnTo>
                    <a:pt x="776" y="447"/>
                  </a:lnTo>
                  <a:lnTo>
                    <a:pt x="816" y="429"/>
                  </a:lnTo>
                  <a:lnTo>
                    <a:pt x="866" y="402"/>
                  </a:lnTo>
                  <a:lnTo>
                    <a:pt x="881" y="344"/>
                  </a:lnTo>
                  <a:lnTo>
                    <a:pt x="887" y="378"/>
                  </a:lnTo>
                  <a:lnTo>
                    <a:pt x="881" y="395"/>
                  </a:lnTo>
                  <a:lnTo>
                    <a:pt x="871" y="426"/>
                  </a:lnTo>
                  <a:lnTo>
                    <a:pt x="874" y="443"/>
                  </a:lnTo>
                  <a:lnTo>
                    <a:pt x="893" y="394"/>
                  </a:lnTo>
                  <a:lnTo>
                    <a:pt x="901" y="284"/>
                  </a:lnTo>
                  <a:lnTo>
                    <a:pt x="846" y="296"/>
                  </a:lnTo>
                  <a:lnTo>
                    <a:pt x="776" y="309"/>
                  </a:lnTo>
                  <a:lnTo>
                    <a:pt x="771" y="285"/>
                  </a:lnTo>
                  <a:lnTo>
                    <a:pt x="693" y="0"/>
                  </a:lnTo>
                  <a:lnTo>
                    <a:pt x="0" y="133"/>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nvGrpSpPr>
            <p:cNvPr id="33" name="Group 194">
              <a:extLst>
                <a:ext uri="{FF2B5EF4-FFF2-40B4-BE49-F238E27FC236}">
                  <a16:creationId xmlns:a16="http://schemas.microsoft.com/office/drawing/2014/main" id="{439C642E-3B32-498C-80C4-D25916D4E19E}"/>
                </a:ext>
              </a:extLst>
            </p:cNvPr>
            <p:cNvGrpSpPr/>
            <p:nvPr/>
          </p:nvGrpSpPr>
          <p:grpSpPr bwMode="gray">
            <a:xfrm>
              <a:off x="5156666" y="1921257"/>
              <a:ext cx="336199" cy="183204"/>
              <a:chOff x="5156666" y="1921257"/>
              <a:chExt cx="336199" cy="183204"/>
            </a:xfrm>
            <a:grpFill/>
          </p:grpSpPr>
          <p:sp>
            <p:nvSpPr>
              <p:cNvPr id="74" name="Freeform 56">
                <a:extLst>
                  <a:ext uri="{FF2B5EF4-FFF2-40B4-BE49-F238E27FC236}">
                    <a16:creationId xmlns:a16="http://schemas.microsoft.com/office/drawing/2014/main" id="{A3EABFEE-9C3E-42A2-97C0-2532D0784BB2}"/>
                  </a:ext>
                </a:extLst>
              </p:cNvPr>
              <p:cNvSpPr>
                <a:spLocks/>
              </p:cNvSpPr>
              <p:nvPr/>
            </p:nvSpPr>
            <p:spPr bwMode="gray">
              <a:xfrm>
                <a:off x="5156666" y="1921257"/>
                <a:ext cx="323531" cy="164689"/>
              </a:xfrm>
              <a:custGeom>
                <a:avLst/>
                <a:gdLst>
                  <a:gd name="T0" fmla="*/ 0 w 663"/>
                  <a:gd name="T1" fmla="*/ 137 h 337"/>
                  <a:gd name="T2" fmla="*/ 2 w 663"/>
                  <a:gd name="T3" fmla="*/ 316 h 337"/>
                  <a:gd name="T4" fmla="*/ 310 w 663"/>
                  <a:gd name="T5" fmla="*/ 251 h 337"/>
                  <a:gd name="T6" fmla="*/ 363 w 663"/>
                  <a:gd name="T7" fmla="*/ 232 h 337"/>
                  <a:gd name="T8" fmla="*/ 386 w 663"/>
                  <a:gd name="T9" fmla="*/ 237 h 337"/>
                  <a:gd name="T10" fmla="*/ 408 w 663"/>
                  <a:gd name="T11" fmla="*/ 287 h 337"/>
                  <a:gd name="T12" fmla="*/ 442 w 663"/>
                  <a:gd name="T13" fmla="*/ 293 h 337"/>
                  <a:gd name="T14" fmla="*/ 464 w 663"/>
                  <a:gd name="T15" fmla="*/ 334 h 337"/>
                  <a:gd name="T16" fmla="*/ 484 w 663"/>
                  <a:gd name="T17" fmla="*/ 337 h 337"/>
                  <a:gd name="T18" fmla="*/ 493 w 663"/>
                  <a:gd name="T19" fmla="*/ 308 h 337"/>
                  <a:gd name="T20" fmla="*/ 510 w 663"/>
                  <a:gd name="T21" fmla="*/ 297 h 337"/>
                  <a:gd name="T22" fmla="*/ 519 w 663"/>
                  <a:gd name="T23" fmla="*/ 265 h 337"/>
                  <a:gd name="T24" fmla="*/ 529 w 663"/>
                  <a:gd name="T25" fmla="*/ 264 h 337"/>
                  <a:gd name="T26" fmla="*/ 543 w 663"/>
                  <a:gd name="T27" fmla="*/ 311 h 337"/>
                  <a:gd name="T28" fmla="*/ 574 w 663"/>
                  <a:gd name="T29" fmla="*/ 300 h 337"/>
                  <a:gd name="T30" fmla="*/ 579 w 663"/>
                  <a:gd name="T31" fmla="*/ 280 h 337"/>
                  <a:gd name="T32" fmla="*/ 621 w 663"/>
                  <a:gd name="T33" fmla="*/ 260 h 337"/>
                  <a:gd name="T34" fmla="*/ 646 w 663"/>
                  <a:gd name="T35" fmla="*/ 252 h 337"/>
                  <a:gd name="T36" fmla="*/ 663 w 663"/>
                  <a:gd name="T37" fmla="*/ 268 h 337"/>
                  <a:gd name="T38" fmla="*/ 657 w 663"/>
                  <a:gd name="T39" fmla="*/ 222 h 337"/>
                  <a:gd name="T40" fmla="*/ 624 w 663"/>
                  <a:gd name="T41" fmla="*/ 166 h 337"/>
                  <a:gd name="T42" fmla="*/ 605 w 663"/>
                  <a:gd name="T43" fmla="*/ 157 h 337"/>
                  <a:gd name="T44" fmla="*/ 584 w 663"/>
                  <a:gd name="T45" fmla="*/ 159 h 337"/>
                  <a:gd name="T46" fmla="*/ 588 w 663"/>
                  <a:gd name="T47" fmla="*/ 172 h 337"/>
                  <a:gd name="T48" fmla="*/ 601 w 663"/>
                  <a:gd name="T49" fmla="*/ 172 h 337"/>
                  <a:gd name="T50" fmla="*/ 617 w 663"/>
                  <a:gd name="T51" fmla="*/ 173 h 337"/>
                  <a:gd name="T52" fmla="*/ 633 w 663"/>
                  <a:gd name="T53" fmla="*/ 191 h 337"/>
                  <a:gd name="T54" fmla="*/ 639 w 663"/>
                  <a:gd name="T55" fmla="*/ 212 h 337"/>
                  <a:gd name="T56" fmla="*/ 628 w 663"/>
                  <a:gd name="T57" fmla="*/ 231 h 337"/>
                  <a:gd name="T58" fmla="*/ 576 w 663"/>
                  <a:gd name="T59" fmla="*/ 254 h 337"/>
                  <a:gd name="T60" fmla="*/ 549 w 663"/>
                  <a:gd name="T61" fmla="*/ 243 h 337"/>
                  <a:gd name="T62" fmla="*/ 535 w 663"/>
                  <a:gd name="T63" fmla="*/ 212 h 337"/>
                  <a:gd name="T64" fmla="*/ 510 w 663"/>
                  <a:gd name="T65" fmla="*/ 208 h 337"/>
                  <a:gd name="T66" fmla="*/ 516 w 663"/>
                  <a:gd name="T67" fmla="*/ 190 h 337"/>
                  <a:gd name="T68" fmla="*/ 487 w 663"/>
                  <a:gd name="T69" fmla="*/ 154 h 337"/>
                  <a:gd name="T70" fmla="*/ 453 w 663"/>
                  <a:gd name="T71" fmla="*/ 140 h 337"/>
                  <a:gd name="T72" fmla="*/ 451 w 663"/>
                  <a:gd name="T73" fmla="*/ 157 h 337"/>
                  <a:gd name="T74" fmla="*/ 429 w 663"/>
                  <a:gd name="T75" fmla="*/ 151 h 337"/>
                  <a:gd name="T76" fmla="*/ 422 w 663"/>
                  <a:gd name="T77" fmla="*/ 130 h 337"/>
                  <a:gd name="T78" fmla="*/ 427 w 663"/>
                  <a:gd name="T79" fmla="*/ 111 h 337"/>
                  <a:gd name="T80" fmla="*/ 446 w 663"/>
                  <a:gd name="T81" fmla="*/ 93 h 337"/>
                  <a:gd name="T82" fmla="*/ 440 w 663"/>
                  <a:gd name="T83" fmla="*/ 79 h 337"/>
                  <a:gd name="T84" fmla="*/ 468 w 663"/>
                  <a:gd name="T85" fmla="*/ 57 h 337"/>
                  <a:gd name="T86" fmla="*/ 439 w 663"/>
                  <a:gd name="T87" fmla="*/ 34 h 337"/>
                  <a:gd name="T88" fmla="*/ 427 w 663"/>
                  <a:gd name="T89" fmla="*/ 0 h 337"/>
                  <a:gd name="T90" fmla="*/ 364 w 663"/>
                  <a:gd name="T91" fmla="*/ 49 h 337"/>
                  <a:gd name="T92" fmla="*/ 145 w 663"/>
                  <a:gd name="T93" fmla="*/ 106 h 337"/>
                  <a:gd name="T94" fmla="*/ 0 w 663"/>
                  <a:gd name="T95" fmla="*/ 137 h 3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3"/>
                  <a:gd name="T145" fmla="*/ 0 h 337"/>
                  <a:gd name="T146" fmla="*/ 663 w 663"/>
                  <a:gd name="T147" fmla="*/ 337 h 33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3" h="337">
                    <a:moveTo>
                      <a:pt x="0" y="137"/>
                    </a:moveTo>
                    <a:lnTo>
                      <a:pt x="2" y="316"/>
                    </a:lnTo>
                    <a:lnTo>
                      <a:pt x="310" y="251"/>
                    </a:lnTo>
                    <a:lnTo>
                      <a:pt x="363" y="232"/>
                    </a:lnTo>
                    <a:lnTo>
                      <a:pt x="386" y="237"/>
                    </a:lnTo>
                    <a:lnTo>
                      <a:pt x="408" y="287"/>
                    </a:lnTo>
                    <a:lnTo>
                      <a:pt x="442" y="293"/>
                    </a:lnTo>
                    <a:lnTo>
                      <a:pt x="464" y="334"/>
                    </a:lnTo>
                    <a:lnTo>
                      <a:pt x="484" y="337"/>
                    </a:lnTo>
                    <a:lnTo>
                      <a:pt x="493" y="308"/>
                    </a:lnTo>
                    <a:lnTo>
                      <a:pt x="510" y="297"/>
                    </a:lnTo>
                    <a:lnTo>
                      <a:pt x="519" y="265"/>
                    </a:lnTo>
                    <a:lnTo>
                      <a:pt x="529" y="264"/>
                    </a:lnTo>
                    <a:lnTo>
                      <a:pt x="543" y="311"/>
                    </a:lnTo>
                    <a:lnTo>
                      <a:pt x="574" y="300"/>
                    </a:lnTo>
                    <a:lnTo>
                      <a:pt x="579" y="280"/>
                    </a:lnTo>
                    <a:lnTo>
                      <a:pt x="621" y="260"/>
                    </a:lnTo>
                    <a:lnTo>
                      <a:pt x="646" y="252"/>
                    </a:lnTo>
                    <a:lnTo>
                      <a:pt x="663" y="268"/>
                    </a:lnTo>
                    <a:lnTo>
                      <a:pt x="657" y="222"/>
                    </a:lnTo>
                    <a:lnTo>
                      <a:pt x="624" y="166"/>
                    </a:lnTo>
                    <a:lnTo>
                      <a:pt x="605" y="157"/>
                    </a:lnTo>
                    <a:lnTo>
                      <a:pt x="584" y="159"/>
                    </a:lnTo>
                    <a:lnTo>
                      <a:pt x="588" y="172"/>
                    </a:lnTo>
                    <a:lnTo>
                      <a:pt x="601" y="172"/>
                    </a:lnTo>
                    <a:lnTo>
                      <a:pt x="617" y="173"/>
                    </a:lnTo>
                    <a:lnTo>
                      <a:pt x="633" y="191"/>
                    </a:lnTo>
                    <a:lnTo>
                      <a:pt x="639" y="212"/>
                    </a:lnTo>
                    <a:lnTo>
                      <a:pt x="628" y="231"/>
                    </a:lnTo>
                    <a:lnTo>
                      <a:pt x="576" y="254"/>
                    </a:lnTo>
                    <a:lnTo>
                      <a:pt x="549" y="243"/>
                    </a:lnTo>
                    <a:lnTo>
                      <a:pt x="535" y="212"/>
                    </a:lnTo>
                    <a:lnTo>
                      <a:pt x="510" y="208"/>
                    </a:lnTo>
                    <a:lnTo>
                      <a:pt x="516" y="190"/>
                    </a:lnTo>
                    <a:lnTo>
                      <a:pt x="487" y="154"/>
                    </a:lnTo>
                    <a:lnTo>
                      <a:pt x="453" y="140"/>
                    </a:lnTo>
                    <a:lnTo>
                      <a:pt x="451" y="157"/>
                    </a:lnTo>
                    <a:lnTo>
                      <a:pt x="429" y="151"/>
                    </a:lnTo>
                    <a:lnTo>
                      <a:pt x="422" y="130"/>
                    </a:lnTo>
                    <a:lnTo>
                      <a:pt x="427" y="111"/>
                    </a:lnTo>
                    <a:lnTo>
                      <a:pt x="446" y="93"/>
                    </a:lnTo>
                    <a:lnTo>
                      <a:pt x="440" y="79"/>
                    </a:lnTo>
                    <a:lnTo>
                      <a:pt x="468" y="57"/>
                    </a:lnTo>
                    <a:lnTo>
                      <a:pt x="439" y="34"/>
                    </a:lnTo>
                    <a:lnTo>
                      <a:pt x="427" y="0"/>
                    </a:lnTo>
                    <a:lnTo>
                      <a:pt x="364" y="49"/>
                    </a:lnTo>
                    <a:lnTo>
                      <a:pt x="145" y="106"/>
                    </a:lnTo>
                    <a:lnTo>
                      <a:pt x="0" y="13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75" name="Freeform 57">
                <a:extLst>
                  <a:ext uri="{FF2B5EF4-FFF2-40B4-BE49-F238E27FC236}">
                    <a16:creationId xmlns:a16="http://schemas.microsoft.com/office/drawing/2014/main" id="{5A8CD548-A61D-4F2F-86D4-4E369A74A0B1}"/>
                  </a:ext>
                </a:extLst>
              </p:cNvPr>
              <p:cNvSpPr>
                <a:spLocks/>
              </p:cNvSpPr>
              <p:nvPr/>
            </p:nvSpPr>
            <p:spPr bwMode="gray">
              <a:xfrm>
                <a:off x="5414906" y="2080099"/>
                <a:ext cx="29235" cy="24362"/>
              </a:xfrm>
              <a:custGeom>
                <a:avLst/>
                <a:gdLst>
                  <a:gd name="T0" fmla="*/ 0 w 60"/>
                  <a:gd name="T1" fmla="*/ 49 h 49"/>
                  <a:gd name="T2" fmla="*/ 26 w 60"/>
                  <a:gd name="T3" fmla="*/ 0 h 49"/>
                  <a:gd name="T4" fmla="*/ 60 w 60"/>
                  <a:gd name="T5" fmla="*/ 22 h 49"/>
                  <a:gd name="T6" fmla="*/ 0 w 60"/>
                  <a:gd name="T7" fmla="*/ 49 h 49"/>
                  <a:gd name="T8" fmla="*/ 0 60000 65536"/>
                  <a:gd name="T9" fmla="*/ 0 60000 65536"/>
                  <a:gd name="T10" fmla="*/ 0 60000 65536"/>
                  <a:gd name="T11" fmla="*/ 0 60000 65536"/>
                  <a:gd name="T12" fmla="*/ 0 w 60"/>
                  <a:gd name="T13" fmla="*/ 0 h 49"/>
                  <a:gd name="T14" fmla="*/ 60 w 60"/>
                  <a:gd name="T15" fmla="*/ 49 h 49"/>
                </a:gdLst>
                <a:ahLst/>
                <a:cxnLst>
                  <a:cxn ang="T8">
                    <a:pos x="T0" y="T1"/>
                  </a:cxn>
                  <a:cxn ang="T9">
                    <a:pos x="T2" y="T3"/>
                  </a:cxn>
                  <a:cxn ang="T10">
                    <a:pos x="T4" y="T5"/>
                  </a:cxn>
                  <a:cxn ang="T11">
                    <a:pos x="T6" y="T7"/>
                  </a:cxn>
                </a:cxnLst>
                <a:rect l="T12" t="T13" r="T14" b="T15"/>
                <a:pathLst>
                  <a:path w="60" h="49">
                    <a:moveTo>
                      <a:pt x="0" y="49"/>
                    </a:moveTo>
                    <a:lnTo>
                      <a:pt x="26" y="0"/>
                    </a:lnTo>
                    <a:lnTo>
                      <a:pt x="60" y="22"/>
                    </a:lnTo>
                    <a:lnTo>
                      <a:pt x="0" y="4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76" name="Freeform 58">
                <a:extLst>
                  <a:ext uri="{FF2B5EF4-FFF2-40B4-BE49-F238E27FC236}">
                    <a16:creationId xmlns:a16="http://schemas.microsoft.com/office/drawing/2014/main" id="{79A5B68D-1D66-476F-9715-0848570D8683}"/>
                  </a:ext>
                </a:extLst>
              </p:cNvPr>
              <p:cNvSpPr>
                <a:spLocks/>
              </p:cNvSpPr>
              <p:nvPr/>
            </p:nvSpPr>
            <p:spPr bwMode="gray">
              <a:xfrm>
                <a:off x="5469477" y="2076201"/>
                <a:ext cx="23388" cy="18515"/>
              </a:xfrm>
              <a:custGeom>
                <a:avLst/>
                <a:gdLst>
                  <a:gd name="T0" fmla="*/ 0 w 47"/>
                  <a:gd name="T1" fmla="*/ 36 h 36"/>
                  <a:gd name="T2" fmla="*/ 26 w 47"/>
                  <a:gd name="T3" fmla="*/ 0 h 36"/>
                  <a:gd name="T4" fmla="*/ 47 w 47"/>
                  <a:gd name="T5" fmla="*/ 27 h 36"/>
                  <a:gd name="T6" fmla="*/ 0 w 47"/>
                  <a:gd name="T7" fmla="*/ 36 h 36"/>
                  <a:gd name="T8" fmla="*/ 0 60000 65536"/>
                  <a:gd name="T9" fmla="*/ 0 60000 65536"/>
                  <a:gd name="T10" fmla="*/ 0 60000 65536"/>
                  <a:gd name="T11" fmla="*/ 0 60000 65536"/>
                  <a:gd name="T12" fmla="*/ 0 w 47"/>
                  <a:gd name="T13" fmla="*/ 0 h 36"/>
                  <a:gd name="T14" fmla="*/ 47 w 47"/>
                  <a:gd name="T15" fmla="*/ 36 h 36"/>
                </a:gdLst>
                <a:ahLst/>
                <a:cxnLst>
                  <a:cxn ang="T8">
                    <a:pos x="T0" y="T1"/>
                  </a:cxn>
                  <a:cxn ang="T9">
                    <a:pos x="T2" y="T3"/>
                  </a:cxn>
                  <a:cxn ang="T10">
                    <a:pos x="T4" y="T5"/>
                  </a:cxn>
                  <a:cxn ang="T11">
                    <a:pos x="T6" y="T7"/>
                  </a:cxn>
                </a:cxnLst>
                <a:rect l="T12" t="T13" r="T14" b="T15"/>
                <a:pathLst>
                  <a:path w="47" h="36">
                    <a:moveTo>
                      <a:pt x="0" y="36"/>
                    </a:moveTo>
                    <a:lnTo>
                      <a:pt x="26" y="0"/>
                    </a:lnTo>
                    <a:lnTo>
                      <a:pt x="47" y="27"/>
                    </a:lnTo>
                    <a:lnTo>
                      <a:pt x="0" y="36"/>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grpSp>
          <p:nvGrpSpPr>
            <p:cNvPr id="34" name="Group 193">
              <a:extLst>
                <a:ext uri="{FF2B5EF4-FFF2-40B4-BE49-F238E27FC236}">
                  <a16:creationId xmlns:a16="http://schemas.microsoft.com/office/drawing/2014/main" id="{00E32D82-D7D5-406B-A65C-35AEAD5E01BE}"/>
                </a:ext>
              </a:extLst>
            </p:cNvPr>
            <p:cNvGrpSpPr/>
            <p:nvPr/>
          </p:nvGrpSpPr>
          <p:grpSpPr bwMode="gray">
            <a:xfrm>
              <a:off x="3620869" y="1617216"/>
              <a:ext cx="727944" cy="685067"/>
              <a:chOff x="3620869" y="1617216"/>
              <a:chExt cx="727944" cy="685067"/>
            </a:xfrm>
            <a:grpFill/>
          </p:grpSpPr>
          <p:sp>
            <p:nvSpPr>
              <p:cNvPr id="72" name="Freeform 59">
                <a:extLst>
                  <a:ext uri="{FF2B5EF4-FFF2-40B4-BE49-F238E27FC236}">
                    <a16:creationId xmlns:a16="http://schemas.microsoft.com/office/drawing/2014/main" id="{5FC6B431-907A-41FD-88E8-854CC910D479}"/>
                  </a:ext>
                </a:extLst>
              </p:cNvPr>
              <p:cNvSpPr>
                <a:spLocks/>
              </p:cNvSpPr>
              <p:nvPr/>
            </p:nvSpPr>
            <p:spPr bwMode="gray">
              <a:xfrm>
                <a:off x="3620869" y="1617216"/>
                <a:ext cx="554485" cy="285526"/>
              </a:xfrm>
              <a:custGeom>
                <a:avLst/>
                <a:gdLst>
                  <a:gd name="T0" fmla="*/ 89 w 1138"/>
                  <a:gd name="T1" fmla="*/ 317 h 585"/>
                  <a:gd name="T2" fmla="*/ 408 w 1138"/>
                  <a:gd name="T3" fmla="*/ 385 h 585"/>
                  <a:gd name="T4" fmla="*/ 461 w 1138"/>
                  <a:gd name="T5" fmla="*/ 432 h 585"/>
                  <a:gd name="T6" fmla="*/ 567 w 1138"/>
                  <a:gd name="T7" fmla="*/ 468 h 585"/>
                  <a:gd name="T8" fmla="*/ 594 w 1138"/>
                  <a:gd name="T9" fmla="*/ 423 h 585"/>
                  <a:gd name="T10" fmla="*/ 611 w 1138"/>
                  <a:gd name="T11" fmla="*/ 372 h 585"/>
                  <a:gd name="T12" fmla="*/ 610 w 1138"/>
                  <a:gd name="T13" fmla="*/ 392 h 585"/>
                  <a:gd name="T14" fmla="*/ 635 w 1138"/>
                  <a:gd name="T15" fmla="*/ 417 h 585"/>
                  <a:gd name="T16" fmla="*/ 668 w 1138"/>
                  <a:gd name="T17" fmla="*/ 384 h 585"/>
                  <a:gd name="T18" fmla="*/ 687 w 1138"/>
                  <a:gd name="T19" fmla="*/ 378 h 585"/>
                  <a:gd name="T20" fmla="*/ 678 w 1138"/>
                  <a:gd name="T21" fmla="*/ 439 h 585"/>
                  <a:gd name="T22" fmla="*/ 720 w 1138"/>
                  <a:gd name="T23" fmla="*/ 392 h 585"/>
                  <a:gd name="T24" fmla="*/ 799 w 1138"/>
                  <a:gd name="T25" fmla="*/ 340 h 585"/>
                  <a:gd name="T26" fmla="*/ 879 w 1138"/>
                  <a:gd name="T27" fmla="*/ 301 h 585"/>
                  <a:gd name="T28" fmla="*/ 1001 w 1138"/>
                  <a:gd name="T29" fmla="*/ 347 h 585"/>
                  <a:gd name="T30" fmla="*/ 1029 w 1138"/>
                  <a:gd name="T31" fmla="*/ 302 h 585"/>
                  <a:gd name="T32" fmla="*/ 1138 w 1138"/>
                  <a:gd name="T33" fmla="*/ 294 h 585"/>
                  <a:gd name="T34" fmla="*/ 1061 w 1138"/>
                  <a:gd name="T35" fmla="*/ 193 h 585"/>
                  <a:gd name="T36" fmla="*/ 995 w 1138"/>
                  <a:gd name="T37" fmla="*/ 193 h 585"/>
                  <a:gd name="T38" fmla="*/ 945 w 1138"/>
                  <a:gd name="T39" fmla="*/ 197 h 585"/>
                  <a:gd name="T40" fmla="*/ 926 w 1138"/>
                  <a:gd name="T41" fmla="*/ 159 h 585"/>
                  <a:gd name="T42" fmla="*/ 887 w 1138"/>
                  <a:gd name="T43" fmla="*/ 136 h 585"/>
                  <a:gd name="T44" fmla="*/ 728 w 1138"/>
                  <a:gd name="T45" fmla="*/ 175 h 585"/>
                  <a:gd name="T46" fmla="*/ 639 w 1138"/>
                  <a:gd name="T47" fmla="*/ 229 h 585"/>
                  <a:gd name="T48" fmla="*/ 587 w 1138"/>
                  <a:gd name="T49" fmla="*/ 219 h 585"/>
                  <a:gd name="T50" fmla="*/ 528 w 1138"/>
                  <a:gd name="T51" fmla="*/ 233 h 585"/>
                  <a:gd name="T52" fmla="*/ 403 w 1138"/>
                  <a:gd name="T53" fmla="*/ 141 h 585"/>
                  <a:gd name="T54" fmla="*/ 369 w 1138"/>
                  <a:gd name="T55" fmla="*/ 163 h 585"/>
                  <a:gd name="T56" fmla="*/ 349 w 1138"/>
                  <a:gd name="T57" fmla="*/ 156 h 585"/>
                  <a:gd name="T58" fmla="*/ 337 w 1138"/>
                  <a:gd name="T59" fmla="*/ 137 h 585"/>
                  <a:gd name="T60" fmla="*/ 410 w 1138"/>
                  <a:gd name="T61" fmla="*/ 22 h 585"/>
                  <a:gd name="T62" fmla="*/ 443 w 1138"/>
                  <a:gd name="T63" fmla="*/ 0 h 585"/>
                  <a:gd name="T64" fmla="*/ 334 w 1138"/>
                  <a:gd name="T65" fmla="*/ 28 h 585"/>
                  <a:gd name="T66" fmla="*/ 269 w 1138"/>
                  <a:gd name="T67" fmla="*/ 92 h 585"/>
                  <a:gd name="T68" fmla="*/ 212 w 1138"/>
                  <a:gd name="T69" fmla="*/ 137 h 585"/>
                  <a:gd name="T70" fmla="*/ 174 w 1138"/>
                  <a:gd name="T71" fmla="*/ 171 h 585"/>
                  <a:gd name="T72" fmla="*/ 90 w 1138"/>
                  <a:gd name="T73" fmla="*/ 197 h 585"/>
                  <a:gd name="T74" fmla="*/ 0 w 1138"/>
                  <a:gd name="T75" fmla="*/ 254 h 5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8"/>
                  <a:gd name="T115" fmla="*/ 0 h 585"/>
                  <a:gd name="T116" fmla="*/ 1138 w 1138"/>
                  <a:gd name="T117" fmla="*/ 585 h 5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8" h="585">
                    <a:moveTo>
                      <a:pt x="0" y="254"/>
                    </a:moveTo>
                    <a:lnTo>
                      <a:pt x="89" y="317"/>
                    </a:lnTo>
                    <a:lnTo>
                      <a:pt x="307" y="373"/>
                    </a:lnTo>
                    <a:lnTo>
                      <a:pt x="408" y="385"/>
                    </a:lnTo>
                    <a:lnTo>
                      <a:pt x="422" y="421"/>
                    </a:lnTo>
                    <a:lnTo>
                      <a:pt x="461" y="432"/>
                    </a:lnTo>
                    <a:lnTo>
                      <a:pt x="518" y="585"/>
                    </a:lnTo>
                    <a:lnTo>
                      <a:pt x="567" y="468"/>
                    </a:lnTo>
                    <a:lnTo>
                      <a:pt x="578" y="439"/>
                    </a:lnTo>
                    <a:lnTo>
                      <a:pt x="594" y="423"/>
                    </a:lnTo>
                    <a:lnTo>
                      <a:pt x="593" y="403"/>
                    </a:lnTo>
                    <a:lnTo>
                      <a:pt x="611" y="372"/>
                    </a:lnTo>
                    <a:lnTo>
                      <a:pt x="616" y="374"/>
                    </a:lnTo>
                    <a:lnTo>
                      <a:pt x="610" y="392"/>
                    </a:lnTo>
                    <a:lnTo>
                      <a:pt x="613" y="426"/>
                    </a:lnTo>
                    <a:lnTo>
                      <a:pt x="635" y="417"/>
                    </a:lnTo>
                    <a:lnTo>
                      <a:pt x="643" y="382"/>
                    </a:lnTo>
                    <a:lnTo>
                      <a:pt x="668" y="384"/>
                    </a:lnTo>
                    <a:lnTo>
                      <a:pt x="683" y="369"/>
                    </a:lnTo>
                    <a:lnTo>
                      <a:pt x="687" y="378"/>
                    </a:lnTo>
                    <a:lnTo>
                      <a:pt x="659" y="431"/>
                    </a:lnTo>
                    <a:lnTo>
                      <a:pt x="678" y="439"/>
                    </a:lnTo>
                    <a:lnTo>
                      <a:pt x="694" y="406"/>
                    </a:lnTo>
                    <a:lnTo>
                      <a:pt x="720" y="392"/>
                    </a:lnTo>
                    <a:lnTo>
                      <a:pt x="733" y="352"/>
                    </a:lnTo>
                    <a:lnTo>
                      <a:pt x="799" y="340"/>
                    </a:lnTo>
                    <a:lnTo>
                      <a:pt x="831" y="337"/>
                    </a:lnTo>
                    <a:lnTo>
                      <a:pt x="879" y="301"/>
                    </a:lnTo>
                    <a:lnTo>
                      <a:pt x="952" y="313"/>
                    </a:lnTo>
                    <a:lnTo>
                      <a:pt x="1001" y="347"/>
                    </a:lnTo>
                    <a:lnTo>
                      <a:pt x="1004" y="304"/>
                    </a:lnTo>
                    <a:lnTo>
                      <a:pt x="1029" y="302"/>
                    </a:lnTo>
                    <a:lnTo>
                      <a:pt x="1089" y="307"/>
                    </a:lnTo>
                    <a:lnTo>
                      <a:pt x="1138" y="294"/>
                    </a:lnTo>
                    <a:lnTo>
                      <a:pt x="1074" y="255"/>
                    </a:lnTo>
                    <a:lnTo>
                      <a:pt x="1061" y="193"/>
                    </a:lnTo>
                    <a:lnTo>
                      <a:pt x="1011" y="204"/>
                    </a:lnTo>
                    <a:lnTo>
                      <a:pt x="995" y="193"/>
                    </a:lnTo>
                    <a:lnTo>
                      <a:pt x="974" y="204"/>
                    </a:lnTo>
                    <a:lnTo>
                      <a:pt x="945" y="197"/>
                    </a:lnTo>
                    <a:lnTo>
                      <a:pt x="931" y="196"/>
                    </a:lnTo>
                    <a:lnTo>
                      <a:pt x="926" y="159"/>
                    </a:lnTo>
                    <a:lnTo>
                      <a:pt x="937" y="125"/>
                    </a:lnTo>
                    <a:lnTo>
                      <a:pt x="887" y="136"/>
                    </a:lnTo>
                    <a:lnTo>
                      <a:pt x="843" y="158"/>
                    </a:lnTo>
                    <a:lnTo>
                      <a:pt x="728" y="175"/>
                    </a:lnTo>
                    <a:lnTo>
                      <a:pt x="652" y="243"/>
                    </a:lnTo>
                    <a:lnTo>
                      <a:pt x="639" y="229"/>
                    </a:lnTo>
                    <a:lnTo>
                      <a:pt x="616" y="240"/>
                    </a:lnTo>
                    <a:lnTo>
                      <a:pt x="587" y="219"/>
                    </a:lnTo>
                    <a:lnTo>
                      <a:pt x="568" y="226"/>
                    </a:lnTo>
                    <a:lnTo>
                      <a:pt x="528" y="233"/>
                    </a:lnTo>
                    <a:lnTo>
                      <a:pt x="470" y="154"/>
                    </a:lnTo>
                    <a:lnTo>
                      <a:pt x="403" y="141"/>
                    </a:lnTo>
                    <a:lnTo>
                      <a:pt x="383" y="145"/>
                    </a:lnTo>
                    <a:lnTo>
                      <a:pt x="369" y="163"/>
                    </a:lnTo>
                    <a:lnTo>
                      <a:pt x="381" y="130"/>
                    </a:lnTo>
                    <a:lnTo>
                      <a:pt x="349" y="156"/>
                    </a:lnTo>
                    <a:lnTo>
                      <a:pt x="334" y="184"/>
                    </a:lnTo>
                    <a:lnTo>
                      <a:pt x="337" y="137"/>
                    </a:lnTo>
                    <a:lnTo>
                      <a:pt x="369" y="70"/>
                    </a:lnTo>
                    <a:lnTo>
                      <a:pt x="410" y="22"/>
                    </a:lnTo>
                    <a:lnTo>
                      <a:pt x="449" y="11"/>
                    </a:lnTo>
                    <a:lnTo>
                      <a:pt x="443" y="0"/>
                    </a:lnTo>
                    <a:lnTo>
                      <a:pt x="376" y="6"/>
                    </a:lnTo>
                    <a:lnTo>
                      <a:pt x="334" y="28"/>
                    </a:lnTo>
                    <a:lnTo>
                      <a:pt x="320" y="52"/>
                    </a:lnTo>
                    <a:lnTo>
                      <a:pt x="269" y="92"/>
                    </a:lnTo>
                    <a:lnTo>
                      <a:pt x="248" y="126"/>
                    </a:lnTo>
                    <a:lnTo>
                      <a:pt x="212" y="137"/>
                    </a:lnTo>
                    <a:lnTo>
                      <a:pt x="197" y="158"/>
                    </a:lnTo>
                    <a:lnTo>
                      <a:pt x="174" y="171"/>
                    </a:lnTo>
                    <a:lnTo>
                      <a:pt x="105" y="183"/>
                    </a:lnTo>
                    <a:lnTo>
                      <a:pt x="90" y="197"/>
                    </a:lnTo>
                    <a:lnTo>
                      <a:pt x="58" y="227"/>
                    </a:lnTo>
                    <a:lnTo>
                      <a:pt x="0" y="25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73" name="Freeform 60">
                <a:extLst>
                  <a:ext uri="{FF2B5EF4-FFF2-40B4-BE49-F238E27FC236}">
                    <a16:creationId xmlns:a16="http://schemas.microsoft.com/office/drawing/2014/main" id="{9744A37A-EE54-4DD1-9EBE-BA6261E9FEF7}"/>
                  </a:ext>
                </a:extLst>
              </p:cNvPr>
              <p:cNvSpPr>
                <a:spLocks/>
              </p:cNvSpPr>
              <p:nvPr/>
            </p:nvSpPr>
            <p:spPr bwMode="gray">
              <a:xfrm>
                <a:off x="3976558" y="1794573"/>
                <a:ext cx="372255" cy="507710"/>
              </a:xfrm>
              <a:custGeom>
                <a:avLst/>
                <a:gdLst>
                  <a:gd name="T0" fmla="*/ 0 w 765"/>
                  <a:gd name="T1" fmla="*/ 1042 h 1042"/>
                  <a:gd name="T2" fmla="*/ 74 w 765"/>
                  <a:gd name="T3" fmla="*/ 915 h 1042"/>
                  <a:gd name="T4" fmla="*/ 88 w 765"/>
                  <a:gd name="T5" fmla="*/ 869 h 1042"/>
                  <a:gd name="T6" fmla="*/ 92 w 765"/>
                  <a:gd name="T7" fmla="*/ 781 h 1042"/>
                  <a:gd name="T8" fmla="*/ 75 w 765"/>
                  <a:gd name="T9" fmla="*/ 694 h 1042"/>
                  <a:gd name="T10" fmla="*/ 31 w 765"/>
                  <a:gd name="T11" fmla="*/ 612 h 1042"/>
                  <a:gd name="T12" fmla="*/ 11 w 765"/>
                  <a:gd name="T13" fmla="*/ 564 h 1042"/>
                  <a:gd name="T14" fmla="*/ 25 w 765"/>
                  <a:gd name="T15" fmla="*/ 523 h 1042"/>
                  <a:gd name="T16" fmla="*/ 4 w 765"/>
                  <a:gd name="T17" fmla="*/ 470 h 1042"/>
                  <a:gd name="T18" fmla="*/ 26 w 765"/>
                  <a:gd name="T19" fmla="*/ 433 h 1042"/>
                  <a:gd name="T20" fmla="*/ 44 w 765"/>
                  <a:gd name="T21" fmla="*/ 342 h 1042"/>
                  <a:gd name="T22" fmla="*/ 39 w 765"/>
                  <a:gd name="T23" fmla="*/ 300 h 1042"/>
                  <a:gd name="T24" fmla="*/ 68 w 765"/>
                  <a:gd name="T25" fmla="*/ 275 h 1042"/>
                  <a:gd name="T26" fmla="*/ 64 w 765"/>
                  <a:gd name="T27" fmla="*/ 245 h 1042"/>
                  <a:gd name="T28" fmla="*/ 110 w 765"/>
                  <a:gd name="T29" fmla="*/ 223 h 1042"/>
                  <a:gd name="T30" fmla="*/ 149 w 765"/>
                  <a:gd name="T31" fmla="*/ 158 h 1042"/>
                  <a:gd name="T32" fmla="*/ 143 w 765"/>
                  <a:gd name="T33" fmla="*/ 264 h 1042"/>
                  <a:gd name="T34" fmla="*/ 176 w 765"/>
                  <a:gd name="T35" fmla="*/ 243 h 1042"/>
                  <a:gd name="T36" fmla="*/ 175 w 765"/>
                  <a:gd name="T37" fmla="*/ 157 h 1042"/>
                  <a:gd name="T38" fmla="*/ 219 w 765"/>
                  <a:gd name="T39" fmla="*/ 108 h 1042"/>
                  <a:gd name="T40" fmla="*/ 248 w 765"/>
                  <a:gd name="T41" fmla="*/ 102 h 1042"/>
                  <a:gd name="T42" fmla="*/ 224 w 765"/>
                  <a:gd name="T43" fmla="*/ 87 h 1042"/>
                  <a:gd name="T44" fmla="*/ 214 w 765"/>
                  <a:gd name="T45" fmla="*/ 58 h 1042"/>
                  <a:gd name="T46" fmla="*/ 232 w 765"/>
                  <a:gd name="T47" fmla="*/ 14 h 1042"/>
                  <a:gd name="T48" fmla="*/ 271 w 765"/>
                  <a:gd name="T49" fmla="*/ 0 h 1042"/>
                  <a:gd name="T50" fmla="*/ 361 w 765"/>
                  <a:gd name="T51" fmla="*/ 26 h 1042"/>
                  <a:gd name="T52" fmla="*/ 394 w 765"/>
                  <a:gd name="T53" fmla="*/ 60 h 1042"/>
                  <a:gd name="T54" fmla="*/ 500 w 765"/>
                  <a:gd name="T55" fmla="*/ 82 h 1042"/>
                  <a:gd name="T56" fmla="*/ 520 w 765"/>
                  <a:gd name="T57" fmla="*/ 115 h 1042"/>
                  <a:gd name="T58" fmla="*/ 551 w 765"/>
                  <a:gd name="T59" fmla="*/ 153 h 1042"/>
                  <a:gd name="T60" fmla="*/ 523 w 765"/>
                  <a:gd name="T61" fmla="*/ 152 h 1042"/>
                  <a:gd name="T62" fmla="*/ 519 w 765"/>
                  <a:gd name="T63" fmla="*/ 173 h 1042"/>
                  <a:gd name="T64" fmla="*/ 552 w 765"/>
                  <a:gd name="T65" fmla="*/ 214 h 1042"/>
                  <a:gd name="T66" fmla="*/ 558 w 765"/>
                  <a:gd name="T67" fmla="*/ 286 h 1042"/>
                  <a:gd name="T68" fmla="*/ 558 w 765"/>
                  <a:gd name="T69" fmla="*/ 329 h 1042"/>
                  <a:gd name="T70" fmla="*/ 526 w 765"/>
                  <a:gd name="T71" fmla="*/ 380 h 1042"/>
                  <a:gd name="T72" fmla="*/ 523 w 765"/>
                  <a:gd name="T73" fmla="*/ 406 h 1042"/>
                  <a:gd name="T74" fmla="*/ 481 w 765"/>
                  <a:gd name="T75" fmla="*/ 427 h 1042"/>
                  <a:gd name="T76" fmla="*/ 472 w 765"/>
                  <a:gd name="T77" fmla="*/ 450 h 1042"/>
                  <a:gd name="T78" fmla="*/ 476 w 765"/>
                  <a:gd name="T79" fmla="*/ 503 h 1042"/>
                  <a:gd name="T80" fmla="*/ 521 w 765"/>
                  <a:gd name="T81" fmla="*/ 525 h 1042"/>
                  <a:gd name="T82" fmla="*/ 557 w 765"/>
                  <a:gd name="T83" fmla="*/ 483 h 1042"/>
                  <a:gd name="T84" fmla="*/ 583 w 765"/>
                  <a:gd name="T85" fmla="*/ 425 h 1042"/>
                  <a:gd name="T86" fmla="*/ 645 w 765"/>
                  <a:gd name="T87" fmla="*/ 388 h 1042"/>
                  <a:gd name="T88" fmla="*/ 687 w 765"/>
                  <a:gd name="T89" fmla="*/ 411 h 1042"/>
                  <a:gd name="T90" fmla="*/ 714 w 765"/>
                  <a:gd name="T91" fmla="*/ 475 h 1042"/>
                  <a:gd name="T92" fmla="*/ 749 w 765"/>
                  <a:gd name="T93" fmla="*/ 600 h 1042"/>
                  <a:gd name="T94" fmla="*/ 765 w 765"/>
                  <a:gd name="T95" fmla="*/ 641 h 1042"/>
                  <a:gd name="T96" fmla="*/ 755 w 765"/>
                  <a:gd name="T97" fmla="*/ 673 h 1042"/>
                  <a:gd name="T98" fmla="*/ 760 w 765"/>
                  <a:gd name="T99" fmla="*/ 726 h 1042"/>
                  <a:gd name="T100" fmla="*/ 747 w 765"/>
                  <a:gd name="T101" fmla="*/ 756 h 1042"/>
                  <a:gd name="T102" fmla="*/ 729 w 765"/>
                  <a:gd name="T103" fmla="*/ 726 h 1042"/>
                  <a:gd name="T104" fmla="*/ 709 w 765"/>
                  <a:gd name="T105" fmla="*/ 739 h 1042"/>
                  <a:gd name="T106" fmla="*/ 707 w 765"/>
                  <a:gd name="T107" fmla="*/ 788 h 1042"/>
                  <a:gd name="T108" fmla="*/ 699 w 765"/>
                  <a:gd name="T109" fmla="*/ 809 h 1042"/>
                  <a:gd name="T110" fmla="*/ 667 w 765"/>
                  <a:gd name="T111" fmla="*/ 831 h 1042"/>
                  <a:gd name="T112" fmla="*/ 665 w 765"/>
                  <a:gd name="T113" fmla="*/ 896 h 1042"/>
                  <a:gd name="T114" fmla="*/ 643 w 765"/>
                  <a:gd name="T115" fmla="*/ 925 h 1042"/>
                  <a:gd name="T116" fmla="*/ 623 w 765"/>
                  <a:gd name="T117" fmla="*/ 979 h 1042"/>
                  <a:gd name="T118" fmla="*/ 375 w 765"/>
                  <a:gd name="T119" fmla="*/ 1018 h 1042"/>
                  <a:gd name="T120" fmla="*/ 368 w 765"/>
                  <a:gd name="T121" fmla="*/ 1002 h 1042"/>
                  <a:gd name="T122" fmla="*/ 0 w 765"/>
                  <a:gd name="T123" fmla="*/ 1042 h 10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5"/>
                  <a:gd name="T187" fmla="*/ 0 h 1042"/>
                  <a:gd name="T188" fmla="*/ 765 w 765"/>
                  <a:gd name="T189" fmla="*/ 1042 h 10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5" h="1042">
                    <a:moveTo>
                      <a:pt x="0" y="1042"/>
                    </a:moveTo>
                    <a:lnTo>
                      <a:pt x="74" y="915"/>
                    </a:lnTo>
                    <a:lnTo>
                      <a:pt x="88" y="869"/>
                    </a:lnTo>
                    <a:lnTo>
                      <a:pt x="92" y="781"/>
                    </a:lnTo>
                    <a:lnTo>
                      <a:pt x="75" y="694"/>
                    </a:lnTo>
                    <a:lnTo>
                      <a:pt x="31" y="612"/>
                    </a:lnTo>
                    <a:lnTo>
                      <a:pt x="11" y="564"/>
                    </a:lnTo>
                    <a:lnTo>
                      <a:pt x="25" y="523"/>
                    </a:lnTo>
                    <a:lnTo>
                      <a:pt x="4" y="470"/>
                    </a:lnTo>
                    <a:lnTo>
                      <a:pt x="26" y="433"/>
                    </a:lnTo>
                    <a:lnTo>
                      <a:pt x="44" y="342"/>
                    </a:lnTo>
                    <a:lnTo>
                      <a:pt x="39" y="300"/>
                    </a:lnTo>
                    <a:lnTo>
                      <a:pt x="68" y="275"/>
                    </a:lnTo>
                    <a:lnTo>
                      <a:pt x="64" y="245"/>
                    </a:lnTo>
                    <a:lnTo>
                      <a:pt x="110" y="223"/>
                    </a:lnTo>
                    <a:lnTo>
                      <a:pt x="149" y="158"/>
                    </a:lnTo>
                    <a:lnTo>
                      <a:pt x="143" y="264"/>
                    </a:lnTo>
                    <a:lnTo>
                      <a:pt x="176" y="243"/>
                    </a:lnTo>
                    <a:lnTo>
                      <a:pt x="175" y="157"/>
                    </a:lnTo>
                    <a:lnTo>
                      <a:pt x="219" y="108"/>
                    </a:lnTo>
                    <a:lnTo>
                      <a:pt x="248" y="102"/>
                    </a:lnTo>
                    <a:lnTo>
                      <a:pt x="224" y="87"/>
                    </a:lnTo>
                    <a:lnTo>
                      <a:pt x="214" y="58"/>
                    </a:lnTo>
                    <a:lnTo>
                      <a:pt x="232" y="14"/>
                    </a:lnTo>
                    <a:lnTo>
                      <a:pt x="271" y="0"/>
                    </a:lnTo>
                    <a:lnTo>
                      <a:pt x="361" y="26"/>
                    </a:lnTo>
                    <a:lnTo>
                      <a:pt x="394" y="60"/>
                    </a:lnTo>
                    <a:lnTo>
                      <a:pt x="500" y="82"/>
                    </a:lnTo>
                    <a:lnTo>
                      <a:pt x="520" y="115"/>
                    </a:lnTo>
                    <a:lnTo>
                      <a:pt x="551" y="153"/>
                    </a:lnTo>
                    <a:lnTo>
                      <a:pt x="523" y="152"/>
                    </a:lnTo>
                    <a:lnTo>
                      <a:pt x="519" y="173"/>
                    </a:lnTo>
                    <a:lnTo>
                      <a:pt x="552" y="214"/>
                    </a:lnTo>
                    <a:lnTo>
                      <a:pt x="558" y="286"/>
                    </a:lnTo>
                    <a:lnTo>
                      <a:pt x="558" y="329"/>
                    </a:lnTo>
                    <a:lnTo>
                      <a:pt x="526" y="380"/>
                    </a:lnTo>
                    <a:lnTo>
                      <a:pt x="523" y="406"/>
                    </a:lnTo>
                    <a:lnTo>
                      <a:pt x="481" y="427"/>
                    </a:lnTo>
                    <a:lnTo>
                      <a:pt x="472" y="450"/>
                    </a:lnTo>
                    <a:lnTo>
                      <a:pt x="476" y="503"/>
                    </a:lnTo>
                    <a:lnTo>
                      <a:pt x="521" y="525"/>
                    </a:lnTo>
                    <a:lnTo>
                      <a:pt x="557" y="483"/>
                    </a:lnTo>
                    <a:lnTo>
                      <a:pt x="583" y="425"/>
                    </a:lnTo>
                    <a:lnTo>
                      <a:pt x="645" y="388"/>
                    </a:lnTo>
                    <a:lnTo>
                      <a:pt x="687" y="411"/>
                    </a:lnTo>
                    <a:lnTo>
                      <a:pt x="714" y="475"/>
                    </a:lnTo>
                    <a:lnTo>
                      <a:pt x="749" y="600"/>
                    </a:lnTo>
                    <a:lnTo>
                      <a:pt x="765" y="641"/>
                    </a:lnTo>
                    <a:lnTo>
                      <a:pt x="755" y="673"/>
                    </a:lnTo>
                    <a:lnTo>
                      <a:pt x="760" y="726"/>
                    </a:lnTo>
                    <a:lnTo>
                      <a:pt x="747" y="756"/>
                    </a:lnTo>
                    <a:lnTo>
                      <a:pt x="729" y="726"/>
                    </a:lnTo>
                    <a:lnTo>
                      <a:pt x="709" y="739"/>
                    </a:lnTo>
                    <a:lnTo>
                      <a:pt x="707" y="788"/>
                    </a:lnTo>
                    <a:lnTo>
                      <a:pt x="699" y="809"/>
                    </a:lnTo>
                    <a:lnTo>
                      <a:pt x="667" y="831"/>
                    </a:lnTo>
                    <a:lnTo>
                      <a:pt x="665" y="896"/>
                    </a:lnTo>
                    <a:lnTo>
                      <a:pt x="643" y="925"/>
                    </a:lnTo>
                    <a:lnTo>
                      <a:pt x="623" y="979"/>
                    </a:lnTo>
                    <a:lnTo>
                      <a:pt x="375" y="1018"/>
                    </a:lnTo>
                    <a:lnTo>
                      <a:pt x="368" y="1002"/>
                    </a:lnTo>
                    <a:lnTo>
                      <a:pt x="0" y="104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35" name="Freeform 61">
              <a:extLst>
                <a:ext uri="{FF2B5EF4-FFF2-40B4-BE49-F238E27FC236}">
                  <a16:creationId xmlns:a16="http://schemas.microsoft.com/office/drawing/2014/main" id="{F7C2FDE0-A400-4255-9E4A-58277437DD90}"/>
                </a:ext>
              </a:extLst>
            </p:cNvPr>
            <p:cNvSpPr>
              <a:spLocks/>
            </p:cNvSpPr>
            <p:nvPr/>
          </p:nvSpPr>
          <p:spPr bwMode="gray">
            <a:xfrm>
              <a:off x="3052741" y="1411598"/>
              <a:ext cx="636343" cy="715276"/>
            </a:xfrm>
            <a:custGeom>
              <a:avLst/>
              <a:gdLst>
                <a:gd name="T0" fmla="*/ 0 w 1305"/>
                <a:gd name="T1" fmla="*/ 92 h 1467"/>
                <a:gd name="T2" fmla="*/ 9 w 1305"/>
                <a:gd name="T3" fmla="*/ 298 h 1467"/>
                <a:gd name="T4" fmla="*/ 59 w 1305"/>
                <a:gd name="T5" fmla="*/ 465 h 1467"/>
                <a:gd name="T6" fmla="*/ 66 w 1305"/>
                <a:gd name="T7" fmla="*/ 681 h 1467"/>
                <a:gd name="T8" fmla="*/ 101 w 1305"/>
                <a:gd name="T9" fmla="*/ 854 h 1467"/>
                <a:gd name="T10" fmla="*/ 55 w 1305"/>
                <a:gd name="T11" fmla="*/ 943 h 1467"/>
                <a:gd name="T12" fmla="*/ 122 w 1305"/>
                <a:gd name="T13" fmla="*/ 1008 h 1467"/>
                <a:gd name="T14" fmla="*/ 118 w 1305"/>
                <a:gd name="T15" fmla="*/ 1467 h 1467"/>
                <a:gd name="T16" fmla="*/ 1061 w 1305"/>
                <a:gd name="T17" fmla="*/ 1450 h 1467"/>
                <a:gd name="T18" fmla="*/ 1046 w 1305"/>
                <a:gd name="T19" fmla="*/ 1360 h 1467"/>
                <a:gd name="T20" fmla="*/ 1017 w 1305"/>
                <a:gd name="T21" fmla="*/ 1327 h 1467"/>
                <a:gd name="T22" fmla="*/ 944 w 1305"/>
                <a:gd name="T23" fmla="*/ 1280 h 1467"/>
                <a:gd name="T24" fmla="*/ 893 w 1305"/>
                <a:gd name="T25" fmla="*/ 1224 h 1467"/>
                <a:gd name="T26" fmla="*/ 767 w 1305"/>
                <a:gd name="T27" fmla="*/ 1145 h 1467"/>
                <a:gd name="T28" fmla="*/ 770 w 1305"/>
                <a:gd name="T29" fmla="*/ 1009 h 1467"/>
                <a:gd name="T30" fmla="*/ 743 w 1305"/>
                <a:gd name="T31" fmla="*/ 924 h 1467"/>
                <a:gd name="T32" fmla="*/ 845 w 1305"/>
                <a:gd name="T33" fmla="*/ 794 h 1467"/>
                <a:gd name="T34" fmla="*/ 839 w 1305"/>
                <a:gd name="T35" fmla="*/ 666 h 1467"/>
                <a:gd name="T36" fmla="*/ 864 w 1305"/>
                <a:gd name="T37" fmla="*/ 645 h 1467"/>
                <a:gd name="T38" fmla="*/ 990 w 1305"/>
                <a:gd name="T39" fmla="*/ 539 h 1467"/>
                <a:gd name="T40" fmla="*/ 1055 w 1305"/>
                <a:gd name="T41" fmla="*/ 461 h 1467"/>
                <a:gd name="T42" fmla="*/ 1138 w 1305"/>
                <a:gd name="T43" fmla="*/ 395 h 1467"/>
                <a:gd name="T44" fmla="*/ 1305 w 1305"/>
                <a:gd name="T45" fmla="*/ 308 h 1467"/>
                <a:gd name="T46" fmla="*/ 1244 w 1305"/>
                <a:gd name="T47" fmla="*/ 314 h 1467"/>
                <a:gd name="T48" fmla="*/ 1186 w 1305"/>
                <a:gd name="T49" fmla="*/ 287 h 1467"/>
                <a:gd name="T50" fmla="*/ 1093 w 1305"/>
                <a:gd name="T51" fmla="*/ 297 h 1467"/>
                <a:gd name="T52" fmla="*/ 1073 w 1305"/>
                <a:gd name="T53" fmla="*/ 260 h 1467"/>
                <a:gd name="T54" fmla="*/ 1043 w 1305"/>
                <a:gd name="T55" fmla="*/ 275 h 1467"/>
                <a:gd name="T56" fmla="*/ 978 w 1305"/>
                <a:gd name="T57" fmla="*/ 313 h 1467"/>
                <a:gd name="T58" fmla="*/ 933 w 1305"/>
                <a:gd name="T59" fmla="*/ 300 h 1467"/>
                <a:gd name="T60" fmla="*/ 916 w 1305"/>
                <a:gd name="T61" fmla="*/ 280 h 1467"/>
                <a:gd name="T62" fmla="*/ 881 w 1305"/>
                <a:gd name="T63" fmla="*/ 269 h 1467"/>
                <a:gd name="T64" fmla="*/ 865 w 1305"/>
                <a:gd name="T65" fmla="*/ 242 h 1467"/>
                <a:gd name="T66" fmla="*/ 833 w 1305"/>
                <a:gd name="T67" fmla="*/ 247 h 1467"/>
                <a:gd name="T68" fmla="*/ 830 w 1305"/>
                <a:gd name="T69" fmla="*/ 271 h 1467"/>
                <a:gd name="T70" fmla="*/ 815 w 1305"/>
                <a:gd name="T71" fmla="*/ 276 h 1467"/>
                <a:gd name="T72" fmla="*/ 791 w 1305"/>
                <a:gd name="T73" fmla="*/ 223 h 1467"/>
                <a:gd name="T74" fmla="*/ 760 w 1305"/>
                <a:gd name="T75" fmla="*/ 222 h 1467"/>
                <a:gd name="T76" fmla="*/ 770 w 1305"/>
                <a:gd name="T77" fmla="*/ 197 h 1467"/>
                <a:gd name="T78" fmla="*/ 695 w 1305"/>
                <a:gd name="T79" fmla="*/ 182 h 1467"/>
                <a:gd name="T80" fmla="*/ 666 w 1305"/>
                <a:gd name="T81" fmla="*/ 178 h 1467"/>
                <a:gd name="T82" fmla="*/ 578 w 1305"/>
                <a:gd name="T83" fmla="*/ 214 h 1467"/>
                <a:gd name="T84" fmla="*/ 563 w 1305"/>
                <a:gd name="T85" fmla="*/ 182 h 1467"/>
                <a:gd name="T86" fmla="*/ 425 w 1305"/>
                <a:gd name="T87" fmla="*/ 154 h 1467"/>
                <a:gd name="T88" fmla="*/ 403 w 1305"/>
                <a:gd name="T89" fmla="*/ 12 h 1467"/>
                <a:gd name="T90" fmla="*/ 345 w 1305"/>
                <a:gd name="T91" fmla="*/ 0 h 1467"/>
                <a:gd name="T92" fmla="*/ 344 w 1305"/>
                <a:gd name="T93" fmla="*/ 93 h 1467"/>
                <a:gd name="T94" fmla="*/ 0 w 1305"/>
                <a:gd name="T95" fmla="*/ 92 h 14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05"/>
                <a:gd name="T145" fmla="*/ 0 h 1467"/>
                <a:gd name="T146" fmla="*/ 1305 w 1305"/>
                <a:gd name="T147" fmla="*/ 1467 h 146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05" h="1467">
                  <a:moveTo>
                    <a:pt x="0" y="92"/>
                  </a:moveTo>
                  <a:lnTo>
                    <a:pt x="9" y="298"/>
                  </a:lnTo>
                  <a:lnTo>
                    <a:pt x="59" y="465"/>
                  </a:lnTo>
                  <a:lnTo>
                    <a:pt x="66" y="681"/>
                  </a:lnTo>
                  <a:lnTo>
                    <a:pt x="101" y="854"/>
                  </a:lnTo>
                  <a:lnTo>
                    <a:pt x="55" y="943"/>
                  </a:lnTo>
                  <a:lnTo>
                    <a:pt x="122" y="1008"/>
                  </a:lnTo>
                  <a:lnTo>
                    <a:pt x="118" y="1467"/>
                  </a:lnTo>
                  <a:lnTo>
                    <a:pt x="1061" y="1450"/>
                  </a:lnTo>
                  <a:lnTo>
                    <a:pt x="1046" y="1360"/>
                  </a:lnTo>
                  <a:lnTo>
                    <a:pt x="1017" y="1327"/>
                  </a:lnTo>
                  <a:lnTo>
                    <a:pt x="944" y="1280"/>
                  </a:lnTo>
                  <a:lnTo>
                    <a:pt x="893" y="1224"/>
                  </a:lnTo>
                  <a:lnTo>
                    <a:pt x="767" y="1145"/>
                  </a:lnTo>
                  <a:lnTo>
                    <a:pt x="770" y="1009"/>
                  </a:lnTo>
                  <a:lnTo>
                    <a:pt x="743" y="924"/>
                  </a:lnTo>
                  <a:lnTo>
                    <a:pt x="845" y="794"/>
                  </a:lnTo>
                  <a:lnTo>
                    <a:pt x="839" y="666"/>
                  </a:lnTo>
                  <a:lnTo>
                    <a:pt x="864" y="645"/>
                  </a:lnTo>
                  <a:lnTo>
                    <a:pt x="990" y="539"/>
                  </a:lnTo>
                  <a:lnTo>
                    <a:pt x="1055" y="461"/>
                  </a:lnTo>
                  <a:lnTo>
                    <a:pt x="1138" y="395"/>
                  </a:lnTo>
                  <a:lnTo>
                    <a:pt x="1305" y="308"/>
                  </a:lnTo>
                  <a:lnTo>
                    <a:pt x="1244" y="314"/>
                  </a:lnTo>
                  <a:lnTo>
                    <a:pt x="1186" y="287"/>
                  </a:lnTo>
                  <a:lnTo>
                    <a:pt x="1093" y="297"/>
                  </a:lnTo>
                  <a:lnTo>
                    <a:pt x="1073" y="260"/>
                  </a:lnTo>
                  <a:lnTo>
                    <a:pt x="1043" y="275"/>
                  </a:lnTo>
                  <a:lnTo>
                    <a:pt x="978" y="313"/>
                  </a:lnTo>
                  <a:lnTo>
                    <a:pt x="933" y="300"/>
                  </a:lnTo>
                  <a:lnTo>
                    <a:pt x="916" y="280"/>
                  </a:lnTo>
                  <a:lnTo>
                    <a:pt x="881" y="269"/>
                  </a:lnTo>
                  <a:lnTo>
                    <a:pt x="865" y="242"/>
                  </a:lnTo>
                  <a:lnTo>
                    <a:pt x="833" y="247"/>
                  </a:lnTo>
                  <a:lnTo>
                    <a:pt x="830" y="271"/>
                  </a:lnTo>
                  <a:lnTo>
                    <a:pt x="815" y="276"/>
                  </a:lnTo>
                  <a:lnTo>
                    <a:pt x="791" y="223"/>
                  </a:lnTo>
                  <a:lnTo>
                    <a:pt x="760" y="222"/>
                  </a:lnTo>
                  <a:lnTo>
                    <a:pt x="770" y="197"/>
                  </a:lnTo>
                  <a:lnTo>
                    <a:pt x="695" y="182"/>
                  </a:lnTo>
                  <a:lnTo>
                    <a:pt x="666" y="178"/>
                  </a:lnTo>
                  <a:lnTo>
                    <a:pt x="578" y="214"/>
                  </a:lnTo>
                  <a:lnTo>
                    <a:pt x="563" y="182"/>
                  </a:lnTo>
                  <a:lnTo>
                    <a:pt x="425" y="154"/>
                  </a:lnTo>
                  <a:lnTo>
                    <a:pt x="403" y="12"/>
                  </a:lnTo>
                  <a:lnTo>
                    <a:pt x="345" y="0"/>
                  </a:lnTo>
                  <a:lnTo>
                    <a:pt x="344" y="93"/>
                  </a:lnTo>
                  <a:lnTo>
                    <a:pt x="0" y="9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6" name="Freeform 62">
              <a:extLst>
                <a:ext uri="{FF2B5EF4-FFF2-40B4-BE49-F238E27FC236}">
                  <a16:creationId xmlns:a16="http://schemas.microsoft.com/office/drawing/2014/main" id="{08C9FA36-7E9A-43DD-BD2A-1F942794E66B}"/>
                </a:ext>
              </a:extLst>
            </p:cNvPr>
            <p:cNvSpPr>
              <a:spLocks/>
            </p:cNvSpPr>
            <p:nvPr/>
          </p:nvSpPr>
          <p:spPr bwMode="gray">
            <a:xfrm>
              <a:off x="3596506" y="3133523"/>
              <a:ext cx="343021" cy="595414"/>
            </a:xfrm>
            <a:custGeom>
              <a:avLst/>
              <a:gdLst>
                <a:gd name="T0" fmla="*/ 0 w 703"/>
                <a:gd name="T1" fmla="*/ 1038 h 1223"/>
                <a:gd name="T2" fmla="*/ 3 w 703"/>
                <a:gd name="T3" fmla="*/ 992 h 1223"/>
                <a:gd name="T4" fmla="*/ 48 w 703"/>
                <a:gd name="T5" fmla="*/ 853 h 1223"/>
                <a:gd name="T6" fmla="*/ 117 w 703"/>
                <a:gd name="T7" fmla="*/ 760 h 1223"/>
                <a:gd name="T8" fmla="*/ 95 w 703"/>
                <a:gd name="T9" fmla="*/ 734 h 1223"/>
                <a:gd name="T10" fmla="*/ 103 w 703"/>
                <a:gd name="T11" fmla="*/ 644 h 1223"/>
                <a:gd name="T12" fmla="*/ 69 w 703"/>
                <a:gd name="T13" fmla="*/ 539 h 1223"/>
                <a:gd name="T14" fmla="*/ 56 w 703"/>
                <a:gd name="T15" fmla="*/ 402 h 1223"/>
                <a:gd name="T16" fmla="*/ 108 w 703"/>
                <a:gd name="T17" fmla="*/ 253 h 1223"/>
                <a:gd name="T18" fmla="*/ 182 w 703"/>
                <a:gd name="T19" fmla="*/ 149 h 1223"/>
                <a:gd name="T20" fmla="*/ 179 w 703"/>
                <a:gd name="T21" fmla="*/ 120 h 1223"/>
                <a:gd name="T22" fmla="*/ 233 w 703"/>
                <a:gd name="T23" fmla="*/ 28 h 1223"/>
                <a:gd name="T24" fmla="*/ 657 w 703"/>
                <a:gd name="T25" fmla="*/ 0 h 1223"/>
                <a:gd name="T26" fmla="*/ 676 w 703"/>
                <a:gd name="T27" fmla="*/ 23 h 1223"/>
                <a:gd name="T28" fmla="*/ 657 w 703"/>
                <a:gd name="T29" fmla="*/ 783 h 1223"/>
                <a:gd name="T30" fmla="*/ 703 w 703"/>
                <a:gd name="T31" fmla="*/ 1150 h 1223"/>
                <a:gd name="T32" fmla="*/ 686 w 703"/>
                <a:gd name="T33" fmla="*/ 1167 h 1223"/>
                <a:gd name="T34" fmla="*/ 659 w 703"/>
                <a:gd name="T35" fmla="*/ 1150 h 1223"/>
                <a:gd name="T36" fmla="*/ 625 w 703"/>
                <a:gd name="T37" fmla="*/ 1167 h 1223"/>
                <a:gd name="T38" fmla="*/ 597 w 703"/>
                <a:gd name="T39" fmla="*/ 1147 h 1223"/>
                <a:gd name="T40" fmla="*/ 595 w 703"/>
                <a:gd name="T41" fmla="*/ 1159 h 1223"/>
                <a:gd name="T42" fmla="*/ 560 w 703"/>
                <a:gd name="T43" fmla="*/ 1163 h 1223"/>
                <a:gd name="T44" fmla="*/ 516 w 703"/>
                <a:gd name="T45" fmla="*/ 1184 h 1223"/>
                <a:gd name="T46" fmla="*/ 501 w 703"/>
                <a:gd name="T47" fmla="*/ 1172 h 1223"/>
                <a:gd name="T48" fmla="*/ 479 w 703"/>
                <a:gd name="T49" fmla="*/ 1214 h 1223"/>
                <a:gd name="T50" fmla="*/ 459 w 703"/>
                <a:gd name="T51" fmla="*/ 1223 h 1223"/>
                <a:gd name="T52" fmla="*/ 389 w 703"/>
                <a:gd name="T53" fmla="*/ 1106 h 1223"/>
                <a:gd name="T54" fmla="*/ 401 w 703"/>
                <a:gd name="T55" fmla="*/ 1022 h 1223"/>
                <a:gd name="T56" fmla="*/ 0 w 703"/>
                <a:gd name="T57" fmla="*/ 1038 h 1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03"/>
                <a:gd name="T88" fmla="*/ 0 h 1223"/>
                <a:gd name="T89" fmla="*/ 703 w 703"/>
                <a:gd name="T90" fmla="*/ 1223 h 1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03" h="1223">
                  <a:moveTo>
                    <a:pt x="0" y="1038"/>
                  </a:moveTo>
                  <a:lnTo>
                    <a:pt x="3" y="992"/>
                  </a:lnTo>
                  <a:lnTo>
                    <a:pt x="48" y="853"/>
                  </a:lnTo>
                  <a:lnTo>
                    <a:pt x="117" y="760"/>
                  </a:lnTo>
                  <a:lnTo>
                    <a:pt x="95" y="734"/>
                  </a:lnTo>
                  <a:lnTo>
                    <a:pt x="103" y="644"/>
                  </a:lnTo>
                  <a:lnTo>
                    <a:pt x="69" y="539"/>
                  </a:lnTo>
                  <a:lnTo>
                    <a:pt x="56" y="402"/>
                  </a:lnTo>
                  <a:lnTo>
                    <a:pt x="108" y="253"/>
                  </a:lnTo>
                  <a:lnTo>
                    <a:pt x="182" y="149"/>
                  </a:lnTo>
                  <a:lnTo>
                    <a:pt x="179" y="120"/>
                  </a:lnTo>
                  <a:lnTo>
                    <a:pt x="233" y="28"/>
                  </a:lnTo>
                  <a:lnTo>
                    <a:pt x="657" y="0"/>
                  </a:lnTo>
                  <a:lnTo>
                    <a:pt x="676" y="23"/>
                  </a:lnTo>
                  <a:lnTo>
                    <a:pt x="657" y="783"/>
                  </a:lnTo>
                  <a:lnTo>
                    <a:pt x="703" y="1150"/>
                  </a:lnTo>
                  <a:lnTo>
                    <a:pt x="686" y="1167"/>
                  </a:lnTo>
                  <a:lnTo>
                    <a:pt x="659" y="1150"/>
                  </a:lnTo>
                  <a:lnTo>
                    <a:pt x="625" y="1167"/>
                  </a:lnTo>
                  <a:lnTo>
                    <a:pt x="597" y="1147"/>
                  </a:lnTo>
                  <a:lnTo>
                    <a:pt x="595" y="1159"/>
                  </a:lnTo>
                  <a:lnTo>
                    <a:pt x="560" y="1163"/>
                  </a:lnTo>
                  <a:lnTo>
                    <a:pt x="516" y="1184"/>
                  </a:lnTo>
                  <a:lnTo>
                    <a:pt x="501" y="1172"/>
                  </a:lnTo>
                  <a:lnTo>
                    <a:pt x="479" y="1214"/>
                  </a:lnTo>
                  <a:lnTo>
                    <a:pt x="459" y="1223"/>
                  </a:lnTo>
                  <a:lnTo>
                    <a:pt x="389" y="1106"/>
                  </a:lnTo>
                  <a:lnTo>
                    <a:pt x="401" y="1022"/>
                  </a:lnTo>
                  <a:lnTo>
                    <a:pt x="0" y="103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7" name="Freeform 63">
              <a:extLst>
                <a:ext uri="{FF2B5EF4-FFF2-40B4-BE49-F238E27FC236}">
                  <a16:creationId xmlns:a16="http://schemas.microsoft.com/office/drawing/2014/main" id="{B50F317C-7496-490A-A828-48CA005156B3}"/>
                </a:ext>
              </a:extLst>
            </p:cNvPr>
            <p:cNvSpPr>
              <a:spLocks/>
            </p:cNvSpPr>
            <p:nvPr/>
          </p:nvSpPr>
          <p:spPr bwMode="gray">
            <a:xfrm>
              <a:off x="3169680" y="2472818"/>
              <a:ext cx="642190" cy="559358"/>
            </a:xfrm>
            <a:custGeom>
              <a:avLst/>
              <a:gdLst>
                <a:gd name="T0" fmla="*/ 0 w 1318"/>
                <a:gd name="T1" fmla="*/ 16 h 1149"/>
                <a:gd name="T2" fmla="*/ 79 w 1318"/>
                <a:gd name="T3" fmla="*/ 165 h 1149"/>
                <a:gd name="T4" fmla="*/ 118 w 1318"/>
                <a:gd name="T5" fmla="*/ 200 h 1149"/>
                <a:gd name="T6" fmla="*/ 141 w 1318"/>
                <a:gd name="T7" fmla="*/ 193 h 1149"/>
                <a:gd name="T8" fmla="*/ 164 w 1318"/>
                <a:gd name="T9" fmla="*/ 212 h 1149"/>
                <a:gd name="T10" fmla="*/ 167 w 1318"/>
                <a:gd name="T11" fmla="*/ 232 h 1149"/>
                <a:gd name="T12" fmla="*/ 146 w 1318"/>
                <a:gd name="T13" fmla="*/ 233 h 1149"/>
                <a:gd name="T14" fmla="*/ 121 w 1318"/>
                <a:gd name="T15" fmla="*/ 286 h 1149"/>
                <a:gd name="T16" fmla="*/ 179 w 1318"/>
                <a:gd name="T17" fmla="*/ 369 h 1149"/>
                <a:gd name="T18" fmla="*/ 224 w 1318"/>
                <a:gd name="T19" fmla="*/ 382 h 1149"/>
                <a:gd name="T20" fmla="*/ 218 w 1318"/>
                <a:gd name="T21" fmla="*/ 920 h 1149"/>
                <a:gd name="T22" fmla="*/ 222 w 1318"/>
                <a:gd name="T23" fmla="*/ 1050 h 1149"/>
                <a:gd name="T24" fmla="*/ 1100 w 1318"/>
                <a:gd name="T25" fmla="*/ 1021 h 1149"/>
                <a:gd name="T26" fmla="*/ 1110 w 1318"/>
                <a:gd name="T27" fmla="*/ 1099 h 1149"/>
                <a:gd name="T28" fmla="*/ 1074 w 1318"/>
                <a:gd name="T29" fmla="*/ 1149 h 1149"/>
                <a:gd name="T30" fmla="*/ 1207 w 1318"/>
                <a:gd name="T31" fmla="*/ 1142 h 1149"/>
                <a:gd name="T32" fmla="*/ 1230 w 1318"/>
                <a:gd name="T33" fmla="*/ 1099 h 1149"/>
                <a:gd name="T34" fmla="*/ 1233 w 1318"/>
                <a:gd name="T35" fmla="*/ 1050 h 1149"/>
                <a:gd name="T36" fmla="*/ 1263 w 1318"/>
                <a:gd name="T37" fmla="*/ 1013 h 1149"/>
                <a:gd name="T38" fmla="*/ 1276 w 1318"/>
                <a:gd name="T39" fmla="*/ 978 h 1149"/>
                <a:gd name="T40" fmla="*/ 1309 w 1318"/>
                <a:gd name="T41" fmla="*/ 973 h 1149"/>
                <a:gd name="T42" fmla="*/ 1318 w 1318"/>
                <a:gd name="T43" fmla="*/ 891 h 1149"/>
                <a:gd name="T44" fmla="*/ 1299 w 1318"/>
                <a:gd name="T45" fmla="*/ 885 h 1149"/>
                <a:gd name="T46" fmla="*/ 1270 w 1318"/>
                <a:gd name="T47" fmla="*/ 883 h 1149"/>
                <a:gd name="T48" fmla="*/ 1239 w 1318"/>
                <a:gd name="T49" fmla="*/ 824 h 1149"/>
                <a:gd name="T50" fmla="*/ 1223 w 1318"/>
                <a:gd name="T51" fmla="*/ 744 h 1149"/>
                <a:gd name="T52" fmla="*/ 1190 w 1318"/>
                <a:gd name="T53" fmla="*/ 689 h 1149"/>
                <a:gd name="T54" fmla="*/ 1138 w 1318"/>
                <a:gd name="T55" fmla="*/ 668 h 1149"/>
                <a:gd name="T56" fmla="*/ 1071 w 1318"/>
                <a:gd name="T57" fmla="*/ 616 h 1149"/>
                <a:gd name="T58" fmla="*/ 1050 w 1318"/>
                <a:gd name="T59" fmla="*/ 545 h 1149"/>
                <a:gd name="T60" fmla="*/ 1087 w 1318"/>
                <a:gd name="T61" fmla="*/ 435 h 1149"/>
                <a:gd name="T62" fmla="*/ 1056 w 1318"/>
                <a:gd name="T63" fmla="*/ 414 h 1149"/>
                <a:gd name="T64" fmla="*/ 978 w 1318"/>
                <a:gd name="T65" fmla="*/ 415 h 1149"/>
                <a:gd name="T66" fmla="*/ 965 w 1318"/>
                <a:gd name="T67" fmla="*/ 344 h 1149"/>
                <a:gd name="T68" fmla="*/ 836 w 1318"/>
                <a:gd name="T69" fmla="*/ 213 h 1149"/>
                <a:gd name="T70" fmla="*/ 807 w 1318"/>
                <a:gd name="T71" fmla="*/ 102 h 1149"/>
                <a:gd name="T72" fmla="*/ 821 w 1318"/>
                <a:gd name="T73" fmla="*/ 58 h 1149"/>
                <a:gd name="T74" fmla="*/ 763 w 1318"/>
                <a:gd name="T75" fmla="*/ 0 h 1149"/>
                <a:gd name="T76" fmla="*/ 0 w 1318"/>
                <a:gd name="T77" fmla="*/ 16 h 11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18"/>
                <a:gd name="T118" fmla="*/ 0 h 1149"/>
                <a:gd name="T119" fmla="*/ 1318 w 1318"/>
                <a:gd name="T120" fmla="*/ 1149 h 11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18" h="1149">
                  <a:moveTo>
                    <a:pt x="0" y="16"/>
                  </a:moveTo>
                  <a:lnTo>
                    <a:pt x="79" y="165"/>
                  </a:lnTo>
                  <a:lnTo>
                    <a:pt x="118" y="200"/>
                  </a:lnTo>
                  <a:lnTo>
                    <a:pt x="141" y="193"/>
                  </a:lnTo>
                  <a:lnTo>
                    <a:pt x="164" y="212"/>
                  </a:lnTo>
                  <a:lnTo>
                    <a:pt x="167" y="232"/>
                  </a:lnTo>
                  <a:lnTo>
                    <a:pt x="146" y="233"/>
                  </a:lnTo>
                  <a:lnTo>
                    <a:pt x="121" y="286"/>
                  </a:lnTo>
                  <a:lnTo>
                    <a:pt x="179" y="369"/>
                  </a:lnTo>
                  <a:lnTo>
                    <a:pt x="224" y="382"/>
                  </a:lnTo>
                  <a:lnTo>
                    <a:pt x="218" y="920"/>
                  </a:lnTo>
                  <a:lnTo>
                    <a:pt x="222" y="1050"/>
                  </a:lnTo>
                  <a:lnTo>
                    <a:pt x="1100" y="1021"/>
                  </a:lnTo>
                  <a:lnTo>
                    <a:pt x="1110" y="1099"/>
                  </a:lnTo>
                  <a:lnTo>
                    <a:pt x="1074" y="1149"/>
                  </a:lnTo>
                  <a:lnTo>
                    <a:pt x="1207" y="1142"/>
                  </a:lnTo>
                  <a:lnTo>
                    <a:pt x="1230" y="1099"/>
                  </a:lnTo>
                  <a:lnTo>
                    <a:pt x="1233" y="1050"/>
                  </a:lnTo>
                  <a:lnTo>
                    <a:pt x="1263" y="1013"/>
                  </a:lnTo>
                  <a:lnTo>
                    <a:pt x="1276" y="978"/>
                  </a:lnTo>
                  <a:lnTo>
                    <a:pt x="1309" y="973"/>
                  </a:lnTo>
                  <a:lnTo>
                    <a:pt x="1318" y="891"/>
                  </a:lnTo>
                  <a:lnTo>
                    <a:pt x="1299" y="885"/>
                  </a:lnTo>
                  <a:lnTo>
                    <a:pt x="1270" y="883"/>
                  </a:lnTo>
                  <a:lnTo>
                    <a:pt x="1239" y="824"/>
                  </a:lnTo>
                  <a:lnTo>
                    <a:pt x="1223" y="744"/>
                  </a:lnTo>
                  <a:lnTo>
                    <a:pt x="1190" y="689"/>
                  </a:lnTo>
                  <a:lnTo>
                    <a:pt x="1138" y="668"/>
                  </a:lnTo>
                  <a:lnTo>
                    <a:pt x="1071" y="616"/>
                  </a:lnTo>
                  <a:lnTo>
                    <a:pt x="1050" y="545"/>
                  </a:lnTo>
                  <a:lnTo>
                    <a:pt x="1087" y="435"/>
                  </a:lnTo>
                  <a:lnTo>
                    <a:pt x="1056" y="414"/>
                  </a:lnTo>
                  <a:lnTo>
                    <a:pt x="978" y="415"/>
                  </a:lnTo>
                  <a:lnTo>
                    <a:pt x="965" y="344"/>
                  </a:lnTo>
                  <a:lnTo>
                    <a:pt x="836" y="213"/>
                  </a:lnTo>
                  <a:lnTo>
                    <a:pt x="807" y="102"/>
                  </a:lnTo>
                  <a:lnTo>
                    <a:pt x="821" y="58"/>
                  </a:lnTo>
                  <a:lnTo>
                    <a:pt x="763" y="0"/>
                  </a:lnTo>
                  <a:lnTo>
                    <a:pt x="0" y="16"/>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8" name="Freeform 64">
              <a:extLst>
                <a:ext uri="{FF2B5EF4-FFF2-40B4-BE49-F238E27FC236}">
                  <a16:creationId xmlns:a16="http://schemas.microsoft.com/office/drawing/2014/main" id="{D92737A3-F8B4-4ED0-9595-133E0776351D}"/>
                </a:ext>
              </a:extLst>
            </p:cNvPr>
            <p:cNvSpPr>
              <a:spLocks/>
            </p:cNvSpPr>
            <p:nvPr/>
          </p:nvSpPr>
          <p:spPr bwMode="gray">
            <a:xfrm>
              <a:off x="1511097" y="1279068"/>
              <a:ext cx="988133" cy="629521"/>
            </a:xfrm>
            <a:custGeom>
              <a:avLst/>
              <a:gdLst>
                <a:gd name="T0" fmla="*/ 0 w 2027"/>
                <a:gd name="T1" fmla="*/ 241 h 1293"/>
                <a:gd name="T2" fmla="*/ 35 w 2027"/>
                <a:gd name="T3" fmla="*/ 328 h 1293"/>
                <a:gd name="T4" fmla="*/ 39 w 2027"/>
                <a:gd name="T5" fmla="*/ 382 h 1293"/>
                <a:gd name="T6" fmla="*/ 20 w 2027"/>
                <a:gd name="T7" fmla="*/ 390 h 1293"/>
                <a:gd name="T8" fmla="*/ 81 w 2027"/>
                <a:gd name="T9" fmla="*/ 449 h 1293"/>
                <a:gd name="T10" fmla="*/ 143 w 2027"/>
                <a:gd name="T11" fmla="*/ 603 h 1293"/>
                <a:gd name="T12" fmla="*/ 165 w 2027"/>
                <a:gd name="T13" fmla="*/ 597 h 1293"/>
                <a:gd name="T14" fmla="*/ 167 w 2027"/>
                <a:gd name="T15" fmla="*/ 619 h 1293"/>
                <a:gd name="T16" fmla="*/ 197 w 2027"/>
                <a:gd name="T17" fmla="*/ 628 h 1293"/>
                <a:gd name="T18" fmla="*/ 219 w 2027"/>
                <a:gd name="T19" fmla="*/ 631 h 1293"/>
                <a:gd name="T20" fmla="*/ 164 w 2027"/>
                <a:gd name="T21" fmla="*/ 743 h 1293"/>
                <a:gd name="T22" fmla="*/ 173 w 2027"/>
                <a:gd name="T23" fmla="*/ 817 h 1293"/>
                <a:gd name="T24" fmla="*/ 128 w 2027"/>
                <a:gd name="T25" fmla="*/ 889 h 1293"/>
                <a:gd name="T26" fmla="*/ 159 w 2027"/>
                <a:gd name="T27" fmla="*/ 921 h 1293"/>
                <a:gd name="T28" fmla="*/ 239 w 2027"/>
                <a:gd name="T29" fmla="*/ 876 h 1293"/>
                <a:gd name="T30" fmla="*/ 297 w 2027"/>
                <a:gd name="T31" fmla="*/ 1119 h 1293"/>
                <a:gd name="T32" fmla="*/ 334 w 2027"/>
                <a:gd name="T33" fmla="*/ 1131 h 1293"/>
                <a:gd name="T34" fmla="*/ 341 w 2027"/>
                <a:gd name="T35" fmla="*/ 1205 h 1293"/>
                <a:gd name="T36" fmla="*/ 372 w 2027"/>
                <a:gd name="T37" fmla="*/ 1236 h 1293"/>
                <a:gd name="T38" fmla="*/ 395 w 2027"/>
                <a:gd name="T39" fmla="*/ 1209 h 1293"/>
                <a:gd name="T40" fmla="*/ 449 w 2027"/>
                <a:gd name="T41" fmla="*/ 1233 h 1293"/>
                <a:gd name="T42" fmla="*/ 482 w 2027"/>
                <a:gd name="T43" fmla="*/ 1207 h 1293"/>
                <a:gd name="T44" fmla="*/ 590 w 2027"/>
                <a:gd name="T45" fmla="*/ 1228 h 1293"/>
                <a:gd name="T46" fmla="*/ 616 w 2027"/>
                <a:gd name="T47" fmla="*/ 1234 h 1293"/>
                <a:gd name="T48" fmla="*/ 640 w 2027"/>
                <a:gd name="T49" fmla="*/ 1185 h 1293"/>
                <a:gd name="T50" fmla="*/ 686 w 2027"/>
                <a:gd name="T51" fmla="*/ 1263 h 1293"/>
                <a:gd name="T52" fmla="*/ 708 w 2027"/>
                <a:gd name="T53" fmla="*/ 1139 h 1293"/>
                <a:gd name="T54" fmla="*/ 1259 w 2027"/>
                <a:gd name="T55" fmla="*/ 1221 h 1293"/>
                <a:gd name="T56" fmla="*/ 1937 w 2027"/>
                <a:gd name="T57" fmla="*/ 1293 h 1293"/>
                <a:gd name="T58" fmla="*/ 1960 w 2027"/>
                <a:gd name="T59" fmla="*/ 1060 h 1293"/>
                <a:gd name="T60" fmla="*/ 2027 w 2027"/>
                <a:gd name="T61" fmla="*/ 303 h 1293"/>
                <a:gd name="T62" fmla="*/ 1130 w 2027"/>
                <a:gd name="T63" fmla="*/ 198 h 1293"/>
                <a:gd name="T64" fmla="*/ 682 w 2027"/>
                <a:gd name="T65" fmla="*/ 124 h 1293"/>
                <a:gd name="T66" fmla="*/ 53 w 2027"/>
                <a:gd name="T67" fmla="*/ 0 h 1293"/>
                <a:gd name="T68" fmla="*/ 0 w 2027"/>
                <a:gd name="T69" fmla="*/ 241 h 12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27"/>
                <a:gd name="T106" fmla="*/ 0 h 1293"/>
                <a:gd name="T107" fmla="*/ 2027 w 2027"/>
                <a:gd name="T108" fmla="*/ 1293 h 12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27" h="1293">
                  <a:moveTo>
                    <a:pt x="0" y="241"/>
                  </a:moveTo>
                  <a:lnTo>
                    <a:pt x="35" y="328"/>
                  </a:lnTo>
                  <a:lnTo>
                    <a:pt x="39" y="382"/>
                  </a:lnTo>
                  <a:lnTo>
                    <a:pt x="20" y="390"/>
                  </a:lnTo>
                  <a:lnTo>
                    <a:pt x="81" y="449"/>
                  </a:lnTo>
                  <a:lnTo>
                    <a:pt x="143" y="603"/>
                  </a:lnTo>
                  <a:lnTo>
                    <a:pt x="165" y="597"/>
                  </a:lnTo>
                  <a:lnTo>
                    <a:pt x="167" y="619"/>
                  </a:lnTo>
                  <a:lnTo>
                    <a:pt x="197" y="628"/>
                  </a:lnTo>
                  <a:lnTo>
                    <a:pt x="219" y="631"/>
                  </a:lnTo>
                  <a:lnTo>
                    <a:pt x="164" y="743"/>
                  </a:lnTo>
                  <a:lnTo>
                    <a:pt x="173" y="817"/>
                  </a:lnTo>
                  <a:lnTo>
                    <a:pt x="128" y="889"/>
                  </a:lnTo>
                  <a:lnTo>
                    <a:pt x="159" y="921"/>
                  </a:lnTo>
                  <a:lnTo>
                    <a:pt x="239" y="876"/>
                  </a:lnTo>
                  <a:lnTo>
                    <a:pt x="297" y="1119"/>
                  </a:lnTo>
                  <a:lnTo>
                    <a:pt x="334" y="1131"/>
                  </a:lnTo>
                  <a:lnTo>
                    <a:pt x="341" y="1205"/>
                  </a:lnTo>
                  <a:lnTo>
                    <a:pt x="372" y="1236"/>
                  </a:lnTo>
                  <a:lnTo>
                    <a:pt x="395" y="1209"/>
                  </a:lnTo>
                  <a:lnTo>
                    <a:pt x="449" y="1233"/>
                  </a:lnTo>
                  <a:lnTo>
                    <a:pt x="482" y="1207"/>
                  </a:lnTo>
                  <a:lnTo>
                    <a:pt x="590" y="1228"/>
                  </a:lnTo>
                  <a:lnTo>
                    <a:pt x="616" y="1234"/>
                  </a:lnTo>
                  <a:lnTo>
                    <a:pt x="640" y="1185"/>
                  </a:lnTo>
                  <a:lnTo>
                    <a:pt x="686" y="1263"/>
                  </a:lnTo>
                  <a:lnTo>
                    <a:pt x="708" y="1139"/>
                  </a:lnTo>
                  <a:lnTo>
                    <a:pt x="1259" y="1221"/>
                  </a:lnTo>
                  <a:lnTo>
                    <a:pt x="1937" y="1293"/>
                  </a:lnTo>
                  <a:lnTo>
                    <a:pt x="1960" y="1060"/>
                  </a:lnTo>
                  <a:lnTo>
                    <a:pt x="2027" y="303"/>
                  </a:lnTo>
                  <a:lnTo>
                    <a:pt x="1130" y="198"/>
                  </a:lnTo>
                  <a:lnTo>
                    <a:pt x="682" y="124"/>
                  </a:lnTo>
                  <a:lnTo>
                    <a:pt x="53" y="0"/>
                  </a:lnTo>
                  <a:lnTo>
                    <a:pt x="0" y="24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39" name="Freeform 65">
              <a:extLst>
                <a:ext uri="{FF2B5EF4-FFF2-40B4-BE49-F238E27FC236}">
                  <a16:creationId xmlns:a16="http://schemas.microsoft.com/office/drawing/2014/main" id="{FF9F11B1-D477-45A4-A13A-6DD22417C66D}"/>
                </a:ext>
              </a:extLst>
            </p:cNvPr>
            <p:cNvSpPr>
              <a:spLocks/>
            </p:cNvSpPr>
            <p:nvPr/>
          </p:nvSpPr>
          <p:spPr bwMode="gray">
            <a:xfrm>
              <a:off x="2410552" y="2152211"/>
              <a:ext cx="797133" cy="400515"/>
            </a:xfrm>
            <a:custGeom>
              <a:avLst/>
              <a:gdLst>
                <a:gd name="T0" fmla="*/ 0 w 1638"/>
                <a:gd name="T1" fmla="*/ 500 h 821"/>
                <a:gd name="T2" fmla="*/ 46 w 1638"/>
                <a:gd name="T3" fmla="*/ 0 h 821"/>
                <a:gd name="T4" fmla="*/ 1055 w 1638"/>
                <a:gd name="T5" fmla="*/ 62 h 821"/>
                <a:gd name="T6" fmla="*/ 1124 w 1638"/>
                <a:gd name="T7" fmla="*/ 113 h 821"/>
                <a:gd name="T8" fmla="*/ 1244 w 1638"/>
                <a:gd name="T9" fmla="*/ 108 h 821"/>
                <a:gd name="T10" fmla="*/ 1301 w 1638"/>
                <a:gd name="T11" fmla="*/ 121 h 821"/>
                <a:gd name="T12" fmla="*/ 1368 w 1638"/>
                <a:gd name="T13" fmla="*/ 151 h 821"/>
                <a:gd name="T14" fmla="*/ 1403 w 1638"/>
                <a:gd name="T15" fmla="*/ 193 h 821"/>
                <a:gd name="T16" fmla="*/ 1433 w 1638"/>
                <a:gd name="T17" fmla="*/ 203 h 821"/>
                <a:gd name="T18" fmla="*/ 1489 w 1638"/>
                <a:gd name="T19" fmla="*/ 358 h 821"/>
                <a:gd name="T20" fmla="*/ 1490 w 1638"/>
                <a:gd name="T21" fmla="*/ 406 h 821"/>
                <a:gd name="T22" fmla="*/ 1527 w 1638"/>
                <a:gd name="T23" fmla="*/ 478 h 821"/>
                <a:gd name="T24" fmla="*/ 1545 w 1638"/>
                <a:gd name="T25" fmla="*/ 597 h 821"/>
                <a:gd name="T26" fmla="*/ 1536 w 1638"/>
                <a:gd name="T27" fmla="*/ 633 h 821"/>
                <a:gd name="T28" fmla="*/ 1559 w 1638"/>
                <a:gd name="T29" fmla="*/ 672 h 821"/>
                <a:gd name="T30" fmla="*/ 1638 w 1638"/>
                <a:gd name="T31" fmla="*/ 821 h 821"/>
                <a:gd name="T32" fmla="*/ 909 w 1638"/>
                <a:gd name="T33" fmla="*/ 812 h 821"/>
                <a:gd name="T34" fmla="*/ 359 w 1638"/>
                <a:gd name="T35" fmla="*/ 780 h 821"/>
                <a:gd name="T36" fmla="*/ 375 w 1638"/>
                <a:gd name="T37" fmla="*/ 531 h 821"/>
                <a:gd name="T38" fmla="*/ 0 w 1638"/>
                <a:gd name="T39" fmla="*/ 500 h 8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8"/>
                <a:gd name="T61" fmla="*/ 0 h 821"/>
                <a:gd name="T62" fmla="*/ 1638 w 1638"/>
                <a:gd name="T63" fmla="*/ 821 h 8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8" h="821">
                  <a:moveTo>
                    <a:pt x="0" y="500"/>
                  </a:moveTo>
                  <a:lnTo>
                    <a:pt x="46" y="0"/>
                  </a:lnTo>
                  <a:lnTo>
                    <a:pt x="1055" y="62"/>
                  </a:lnTo>
                  <a:lnTo>
                    <a:pt x="1124" y="113"/>
                  </a:lnTo>
                  <a:lnTo>
                    <a:pt x="1244" y="108"/>
                  </a:lnTo>
                  <a:lnTo>
                    <a:pt x="1301" y="121"/>
                  </a:lnTo>
                  <a:lnTo>
                    <a:pt x="1368" y="151"/>
                  </a:lnTo>
                  <a:lnTo>
                    <a:pt x="1403" y="193"/>
                  </a:lnTo>
                  <a:lnTo>
                    <a:pt x="1433" y="203"/>
                  </a:lnTo>
                  <a:lnTo>
                    <a:pt x="1489" y="358"/>
                  </a:lnTo>
                  <a:lnTo>
                    <a:pt x="1490" y="406"/>
                  </a:lnTo>
                  <a:lnTo>
                    <a:pt x="1527" y="478"/>
                  </a:lnTo>
                  <a:lnTo>
                    <a:pt x="1545" y="597"/>
                  </a:lnTo>
                  <a:lnTo>
                    <a:pt x="1536" y="633"/>
                  </a:lnTo>
                  <a:lnTo>
                    <a:pt x="1559" y="672"/>
                  </a:lnTo>
                  <a:lnTo>
                    <a:pt x="1638" y="821"/>
                  </a:lnTo>
                  <a:lnTo>
                    <a:pt x="909" y="812"/>
                  </a:lnTo>
                  <a:lnTo>
                    <a:pt x="359" y="780"/>
                  </a:lnTo>
                  <a:lnTo>
                    <a:pt x="375" y="531"/>
                  </a:lnTo>
                  <a:lnTo>
                    <a:pt x="0" y="50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0" name="Freeform 66">
              <a:extLst>
                <a:ext uri="{FF2B5EF4-FFF2-40B4-BE49-F238E27FC236}">
                  <a16:creationId xmlns:a16="http://schemas.microsoft.com/office/drawing/2014/main" id="{DF3F54C9-4E81-49E4-9AC5-00545E5E32A2}"/>
                </a:ext>
              </a:extLst>
            </p:cNvPr>
            <p:cNvSpPr>
              <a:spLocks/>
            </p:cNvSpPr>
            <p:nvPr/>
          </p:nvSpPr>
          <p:spPr bwMode="gray">
            <a:xfrm>
              <a:off x="915683" y="2024553"/>
              <a:ext cx="614903" cy="952077"/>
            </a:xfrm>
            <a:custGeom>
              <a:avLst/>
              <a:gdLst>
                <a:gd name="T0" fmla="*/ 0 w 1262"/>
                <a:gd name="T1" fmla="*/ 717 h 1953"/>
                <a:gd name="T2" fmla="*/ 58 w 1262"/>
                <a:gd name="T3" fmla="*/ 831 h 1953"/>
                <a:gd name="T4" fmla="*/ 802 w 1262"/>
                <a:gd name="T5" fmla="*/ 1953 h 1953"/>
                <a:gd name="T6" fmla="*/ 832 w 1262"/>
                <a:gd name="T7" fmla="*/ 1692 h 1953"/>
                <a:gd name="T8" fmla="*/ 877 w 1262"/>
                <a:gd name="T9" fmla="*/ 1677 h 1953"/>
                <a:gd name="T10" fmla="*/ 952 w 1262"/>
                <a:gd name="T11" fmla="*/ 1722 h 1953"/>
                <a:gd name="T12" fmla="*/ 1018 w 1262"/>
                <a:gd name="T13" fmla="*/ 1489 h 1953"/>
                <a:gd name="T14" fmla="*/ 1262 w 1262"/>
                <a:gd name="T15" fmla="*/ 251 h 1953"/>
                <a:gd name="T16" fmla="*/ 723 w 1262"/>
                <a:gd name="T17" fmla="*/ 134 h 1953"/>
                <a:gd name="T18" fmla="*/ 188 w 1262"/>
                <a:gd name="T19" fmla="*/ 0 h 1953"/>
                <a:gd name="T20" fmla="*/ 0 w 1262"/>
                <a:gd name="T21" fmla="*/ 717 h 1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62"/>
                <a:gd name="T34" fmla="*/ 0 h 1953"/>
                <a:gd name="T35" fmla="*/ 1262 w 1262"/>
                <a:gd name="T36" fmla="*/ 1953 h 19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62" h="1953">
                  <a:moveTo>
                    <a:pt x="0" y="717"/>
                  </a:moveTo>
                  <a:lnTo>
                    <a:pt x="58" y="831"/>
                  </a:lnTo>
                  <a:lnTo>
                    <a:pt x="802" y="1953"/>
                  </a:lnTo>
                  <a:lnTo>
                    <a:pt x="832" y="1692"/>
                  </a:lnTo>
                  <a:lnTo>
                    <a:pt x="877" y="1677"/>
                  </a:lnTo>
                  <a:lnTo>
                    <a:pt x="952" y="1722"/>
                  </a:lnTo>
                  <a:lnTo>
                    <a:pt x="1018" y="1489"/>
                  </a:lnTo>
                  <a:lnTo>
                    <a:pt x="1262" y="251"/>
                  </a:lnTo>
                  <a:lnTo>
                    <a:pt x="723" y="134"/>
                  </a:lnTo>
                  <a:lnTo>
                    <a:pt x="188" y="0"/>
                  </a:lnTo>
                  <a:lnTo>
                    <a:pt x="0" y="71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1" name="Freeform 67">
              <a:extLst>
                <a:ext uri="{FF2B5EF4-FFF2-40B4-BE49-F238E27FC236}">
                  <a16:creationId xmlns:a16="http://schemas.microsoft.com/office/drawing/2014/main" id="{F3283EFD-673E-44C2-A1BE-309AD9A48FF2}"/>
                </a:ext>
              </a:extLst>
            </p:cNvPr>
            <p:cNvSpPr>
              <a:spLocks/>
            </p:cNvSpPr>
            <p:nvPr/>
          </p:nvSpPr>
          <p:spPr bwMode="gray">
            <a:xfrm>
              <a:off x="5213186" y="1635731"/>
              <a:ext cx="155918" cy="337174"/>
            </a:xfrm>
            <a:custGeom>
              <a:avLst/>
              <a:gdLst>
                <a:gd name="T0" fmla="*/ 0 w 322"/>
                <a:gd name="T1" fmla="*/ 475 h 691"/>
                <a:gd name="T2" fmla="*/ 18 w 322"/>
                <a:gd name="T3" fmla="*/ 322 h 691"/>
                <a:gd name="T4" fmla="*/ 54 w 322"/>
                <a:gd name="T5" fmla="*/ 251 h 691"/>
                <a:gd name="T6" fmla="*/ 58 w 322"/>
                <a:gd name="T7" fmla="*/ 92 h 691"/>
                <a:gd name="T8" fmla="*/ 57 w 322"/>
                <a:gd name="T9" fmla="*/ 32 h 691"/>
                <a:gd name="T10" fmla="*/ 114 w 322"/>
                <a:gd name="T11" fmla="*/ 0 h 691"/>
                <a:gd name="T12" fmla="*/ 248 w 322"/>
                <a:gd name="T13" fmla="*/ 431 h 691"/>
                <a:gd name="T14" fmla="*/ 316 w 322"/>
                <a:gd name="T15" fmla="*/ 526 h 691"/>
                <a:gd name="T16" fmla="*/ 322 w 322"/>
                <a:gd name="T17" fmla="*/ 544 h 691"/>
                <a:gd name="T18" fmla="*/ 312 w 322"/>
                <a:gd name="T19" fmla="*/ 585 h 691"/>
                <a:gd name="T20" fmla="*/ 249 w 322"/>
                <a:gd name="T21" fmla="*/ 634 h 691"/>
                <a:gd name="T22" fmla="*/ 30 w 322"/>
                <a:gd name="T23" fmla="*/ 691 h 691"/>
                <a:gd name="T24" fmla="*/ 0 w 322"/>
                <a:gd name="T25" fmla="*/ 475 h 6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2"/>
                <a:gd name="T40" fmla="*/ 0 h 691"/>
                <a:gd name="T41" fmla="*/ 322 w 322"/>
                <a:gd name="T42" fmla="*/ 691 h 6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2" h="691">
                  <a:moveTo>
                    <a:pt x="0" y="475"/>
                  </a:moveTo>
                  <a:lnTo>
                    <a:pt x="18" y="322"/>
                  </a:lnTo>
                  <a:lnTo>
                    <a:pt x="54" y="251"/>
                  </a:lnTo>
                  <a:lnTo>
                    <a:pt x="58" y="92"/>
                  </a:lnTo>
                  <a:lnTo>
                    <a:pt x="57" y="32"/>
                  </a:lnTo>
                  <a:lnTo>
                    <a:pt x="114" y="0"/>
                  </a:lnTo>
                  <a:lnTo>
                    <a:pt x="248" y="431"/>
                  </a:lnTo>
                  <a:lnTo>
                    <a:pt x="316" y="526"/>
                  </a:lnTo>
                  <a:lnTo>
                    <a:pt x="322" y="544"/>
                  </a:lnTo>
                  <a:lnTo>
                    <a:pt x="312" y="585"/>
                  </a:lnTo>
                  <a:lnTo>
                    <a:pt x="249" y="634"/>
                  </a:lnTo>
                  <a:lnTo>
                    <a:pt x="30" y="691"/>
                  </a:lnTo>
                  <a:lnTo>
                    <a:pt x="0" y="475"/>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2" name="Freeform 68">
              <a:extLst>
                <a:ext uri="{FF2B5EF4-FFF2-40B4-BE49-F238E27FC236}">
                  <a16:creationId xmlns:a16="http://schemas.microsoft.com/office/drawing/2014/main" id="{0977C946-7748-4B49-B841-110A76F4E683}"/>
                </a:ext>
              </a:extLst>
            </p:cNvPr>
            <p:cNvSpPr>
              <a:spLocks/>
            </p:cNvSpPr>
            <p:nvPr/>
          </p:nvSpPr>
          <p:spPr bwMode="gray">
            <a:xfrm>
              <a:off x="5039727" y="2181446"/>
              <a:ext cx="127658" cy="295270"/>
            </a:xfrm>
            <a:custGeom>
              <a:avLst/>
              <a:gdLst>
                <a:gd name="T0" fmla="*/ 0 w 262"/>
                <a:gd name="T1" fmla="*/ 448 h 606"/>
                <a:gd name="T2" fmla="*/ 14 w 262"/>
                <a:gd name="T3" fmla="*/ 412 h 606"/>
                <a:gd name="T4" fmla="*/ 59 w 262"/>
                <a:gd name="T5" fmla="*/ 381 h 606"/>
                <a:gd name="T6" fmla="*/ 82 w 262"/>
                <a:gd name="T7" fmla="*/ 332 h 606"/>
                <a:gd name="T8" fmla="*/ 121 w 262"/>
                <a:gd name="T9" fmla="*/ 295 h 606"/>
                <a:gd name="T10" fmla="*/ 9 w 262"/>
                <a:gd name="T11" fmla="*/ 203 h 606"/>
                <a:gd name="T12" fmla="*/ 6 w 262"/>
                <a:gd name="T13" fmla="*/ 116 h 606"/>
                <a:gd name="T14" fmla="*/ 58 w 262"/>
                <a:gd name="T15" fmla="*/ 0 h 606"/>
                <a:gd name="T16" fmla="*/ 228 w 262"/>
                <a:gd name="T17" fmla="*/ 57 h 606"/>
                <a:gd name="T18" fmla="*/ 230 w 262"/>
                <a:gd name="T19" fmla="*/ 80 h 606"/>
                <a:gd name="T20" fmla="*/ 211 w 262"/>
                <a:gd name="T21" fmla="*/ 146 h 606"/>
                <a:gd name="T22" fmla="*/ 191 w 262"/>
                <a:gd name="T23" fmla="*/ 164 h 606"/>
                <a:gd name="T24" fmla="*/ 188 w 262"/>
                <a:gd name="T25" fmla="*/ 197 h 606"/>
                <a:gd name="T26" fmla="*/ 206 w 262"/>
                <a:gd name="T27" fmla="*/ 207 h 606"/>
                <a:gd name="T28" fmla="*/ 224 w 262"/>
                <a:gd name="T29" fmla="*/ 203 h 606"/>
                <a:gd name="T30" fmla="*/ 242 w 262"/>
                <a:gd name="T31" fmla="*/ 205 h 606"/>
                <a:gd name="T32" fmla="*/ 238 w 262"/>
                <a:gd name="T33" fmla="*/ 191 h 606"/>
                <a:gd name="T34" fmla="*/ 247 w 262"/>
                <a:gd name="T35" fmla="*/ 197 h 606"/>
                <a:gd name="T36" fmla="*/ 260 w 262"/>
                <a:gd name="T37" fmla="*/ 237 h 606"/>
                <a:gd name="T38" fmla="*/ 262 w 262"/>
                <a:gd name="T39" fmla="*/ 364 h 606"/>
                <a:gd name="T40" fmla="*/ 258 w 262"/>
                <a:gd name="T41" fmla="*/ 331 h 606"/>
                <a:gd name="T42" fmla="*/ 248 w 262"/>
                <a:gd name="T43" fmla="*/ 301 h 606"/>
                <a:gd name="T44" fmla="*/ 245 w 262"/>
                <a:gd name="T45" fmla="*/ 319 h 606"/>
                <a:gd name="T46" fmla="*/ 251 w 262"/>
                <a:gd name="T47" fmla="*/ 347 h 606"/>
                <a:gd name="T48" fmla="*/ 245 w 262"/>
                <a:gd name="T49" fmla="*/ 364 h 606"/>
                <a:gd name="T50" fmla="*/ 248 w 262"/>
                <a:gd name="T51" fmla="*/ 398 h 606"/>
                <a:gd name="T52" fmla="*/ 234 w 262"/>
                <a:gd name="T53" fmla="*/ 433 h 606"/>
                <a:gd name="T54" fmla="*/ 218 w 262"/>
                <a:gd name="T55" fmla="*/ 435 h 606"/>
                <a:gd name="T56" fmla="*/ 224 w 262"/>
                <a:gd name="T57" fmla="*/ 464 h 606"/>
                <a:gd name="T58" fmla="*/ 198 w 262"/>
                <a:gd name="T59" fmla="*/ 507 h 606"/>
                <a:gd name="T60" fmla="*/ 163 w 262"/>
                <a:gd name="T61" fmla="*/ 605 h 606"/>
                <a:gd name="T62" fmla="*/ 145 w 262"/>
                <a:gd name="T63" fmla="*/ 606 h 606"/>
                <a:gd name="T64" fmla="*/ 151 w 262"/>
                <a:gd name="T65" fmla="*/ 567 h 606"/>
                <a:gd name="T66" fmla="*/ 140 w 262"/>
                <a:gd name="T67" fmla="*/ 549 h 606"/>
                <a:gd name="T68" fmla="*/ 97 w 262"/>
                <a:gd name="T69" fmla="*/ 553 h 606"/>
                <a:gd name="T70" fmla="*/ 33 w 262"/>
                <a:gd name="T71" fmla="*/ 513 h 606"/>
                <a:gd name="T72" fmla="*/ 11 w 262"/>
                <a:gd name="T73" fmla="*/ 496 h 606"/>
                <a:gd name="T74" fmla="*/ 0 w 262"/>
                <a:gd name="T75" fmla="*/ 448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2"/>
                <a:gd name="T115" fmla="*/ 0 h 606"/>
                <a:gd name="T116" fmla="*/ 262 w 262"/>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2" h="606">
                  <a:moveTo>
                    <a:pt x="0" y="448"/>
                  </a:moveTo>
                  <a:lnTo>
                    <a:pt x="14" y="412"/>
                  </a:lnTo>
                  <a:lnTo>
                    <a:pt x="59" y="381"/>
                  </a:lnTo>
                  <a:lnTo>
                    <a:pt x="82" y="332"/>
                  </a:lnTo>
                  <a:lnTo>
                    <a:pt x="121" y="295"/>
                  </a:lnTo>
                  <a:lnTo>
                    <a:pt x="9" y="203"/>
                  </a:lnTo>
                  <a:lnTo>
                    <a:pt x="6" y="116"/>
                  </a:lnTo>
                  <a:lnTo>
                    <a:pt x="58" y="0"/>
                  </a:lnTo>
                  <a:lnTo>
                    <a:pt x="228" y="57"/>
                  </a:lnTo>
                  <a:lnTo>
                    <a:pt x="230" y="80"/>
                  </a:lnTo>
                  <a:lnTo>
                    <a:pt x="211" y="146"/>
                  </a:lnTo>
                  <a:lnTo>
                    <a:pt x="191" y="164"/>
                  </a:lnTo>
                  <a:lnTo>
                    <a:pt x="188" y="197"/>
                  </a:lnTo>
                  <a:lnTo>
                    <a:pt x="206" y="207"/>
                  </a:lnTo>
                  <a:lnTo>
                    <a:pt x="224" y="203"/>
                  </a:lnTo>
                  <a:lnTo>
                    <a:pt x="242" y="205"/>
                  </a:lnTo>
                  <a:lnTo>
                    <a:pt x="238" y="191"/>
                  </a:lnTo>
                  <a:lnTo>
                    <a:pt x="247" y="197"/>
                  </a:lnTo>
                  <a:lnTo>
                    <a:pt x="260" y="237"/>
                  </a:lnTo>
                  <a:lnTo>
                    <a:pt x="262" y="364"/>
                  </a:lnTo>
                  <a:lnTo>
                    <a:pt x="258" y="331"/>
                  </a:lnTo>
                  <a:lnTo>
                    <a:pt x="248" y="301"/>
                  </a:lnTo>
                  <a:lnTo>
                    <a:pt x="245" y="319"/>
                  </a:lnTo>
                  <a:lnTo>
                    <a:pt x="251" y="347"/>
                  </a:lnTo>
                  <a:lnTo>
                    <a:pt x="245" y="364"/>
                  </a:lnTo>
                  <a:lnTo>
                    <a:pt x="248" y="398"/>
                  </a:lnTo>
                  <a:lnTo>
                    <a:pt x="234" y="433"/>
                  </a:lnTo>
                  <a:lnTo>
                    <a:pt x="218" y="435"/>
                  </a:lnTo>
                  <a:lnTo>
                    <a:pt x="224" y="464"/>
                  </a:lnTo>
                  <a:lnTo>
                    <a:pt x="198" y="507"/>
                  </a:lnTo>
                  <a:lnTo>
                    <a:pt x="163" y="605"/>
                  </a:lnTo>
                  <a:lnTo>
                    <a:pt x="145" y="606"/>
                  </a:lnTo>
                  <a:lnTo>
                    <a:pt x="151" y="567"/>
                  </a:lnTo>
                  <a:lnTo>
                    <a:pt x="140" y="549"/>
                  </a:lnTo>
                  <a:lnTo>
                    <a:pt x="97" y="553"/>
                  </a:lnTo>
                  <a:lnTo>
                    <a:pt x="33" y="513"/>
                  </a:lnTo>
                  <a:lnTo>
                    <a:pt x="11" y="496"/>
                  </a:lnTo>
                  <a:lnTo>
                    <a:pt x="0" y="44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3" name="Freeform 69">
              <a:extLst>
                <a:ext uri="{FF2B5EF4-FFF2-40B4-BE49-F238E27FC236}">
                  <a16:creationId xmlns:a16="http://schemas.microsoft.com/office/drawing/2014/main" id="{BF460841-E3EF-4437-9BDA-608C8606005A}"/>
                </a:ext>
              </a:extLst>
            </p:cNvPr>
            <p:cNvSpPr>
              <a:spLocks/>
            </p:cNvSpPr>
            <p:nvPr/>
          </p:nvSpPr>
          <p:spPr bwMode="gray">
            <a:xfrm>
              <a:off x="1788827" y="2831431"/>
              <a:ext cx="679220" cy="695786"/>
            </a:xfrm>
            <a:custGeom>
              <a:avLst/>
              <a:gdLst>
                <a:gd name="T0" fmla="*/ 0 w 1396"/>
                <a:gd name="T1" fmla="*/ 1402 h 1427"/>
                <a:gd name="T2" fmla="*/ 174 w 1396"/>
                <a:gd name="T3" fmla="*/ 1427 h 1427"/>
                <a:gd name="T4" fmla="*/ 191 w 1396"/>
                <a:gd name="T5" fmla="*/ 1319 h 1427"/>
                <a:gd name="T6" fmla="*/ 544 w 1396"/>
                <a:gd name="T7" fmla="*/ 1364 h 1427"/>
                <a:gd name="T8" fmla="*/ 528 w 1396"/>
                <a:gd name="T9" fmla="*/ 1312 h 1427"/>
                <a:gd name="T10" fmla="*/ 583 w 1396"/>
                <a:gd name="T11" fmla="*/ 1317 h 1427"/>
                <a:gd name="T12" fmla="*/ 1281 w 1396"/>
                <a:gd name="T13" fmla="*/ 1384 h 1427"/>
                <a:gd name="T14" fmla="*/ 1385 w 1396"/>
                <a:gd name="T15" fmla="*/ 261 h 1427"/>
                <a:gd name="T16" fmla="*/ 1396 w 1396"/>
                <a:gd name="T17" fmla="*/ 130 h 1427"/>
                <a:gd name="T18" fmla="*/ 802 w 1396"/>
                <a:gd name="T19" fmla="*/ 78 h 1427"/>
                <a:gd name="T20" fmla="*/ 206 w 1396"/>
                <a:gd name="T21" fmla="*/ 0 h 1427"/>
                <a:gd name="T22" fmla="*/ 0 w 1396"/>
                <a:gd name="T23" fmla="*/ 1402 h 14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6"/>
                <a:gd name="T37" fmla="*/ 0 h 1427"/>
                <a:gd name="T38" fmla="*/ 1396 w 1396"/>
                <a:gd name="T39" fmla="*/ 1427 h 14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6" h="1427">
                  <a:moveTo>
                    <a:pt x="0" y="1402"/>
                  </a:moveTo>
                  <a:lnTo>
                    <a:pt x="174" y="1427"/>
                  </a:lnTo>
                  <a:lnTo>
                    <a:pt x="191" y="1319"/>
                  </a:lnTo>
                  <a:lnTo>
                    <a:pt x="544" y="1364"/>
                  </a:lnTo>
                  <a:lnTo>
                    <a:pt x="528" y="1312"/>
                  </a:lnTo>
                  <a:lnTo>
                    <a:pt x="583" y="1317"/>
                  </a:lnTo>
                  <a:lnTo>
                    <a:pt x="1281" y="1384"/>
                  </a:lnTo>
                  <a:lnTo>
                    <a:pt x="1385" y="261"/>
                  </a:lnTo>
                  <a:lnTo>
                    <a:pt x="1396" y="130"/>
                  </a:lnTo>
                  <a:lnTo>
                    <a:pt x="802" y="78"/>
                  </a:lnTo>
                  <a:lnTo>
                    <a:pt x="206" y="0"/>
                  </a:lnTo>
                  <a:lnTo>
                    <a:pt x="0" y="140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4" name="Freeform 71">
              <a:extLst>
                <a:ext uri="{FF2B5EF4-FFF2-40B4-BE49-F238E27FC236}">
                  <a16:creationId xmlns:a16="http://schemas.microsoft.com/office/drawing/2014/main" id="{B6F0BDDD-13E4-4685-B41D-D913B0EDBBDA}"/>
                </a:ext>
              </a:extLst>
            </p:cNvPr>
            <p:cNvSpPr>
              <a:spLocks/>
            </p:cNvSpPr>
            <p:nvPr/>
          </p:nvSpPr>
          <p:spPr bwMode="gray">
            <a:xfrm>
              <a:off x="5131329" y="2253558"/>
              <a:ext cx="16566" cy="24362"/>
            </a:xfrm>
            <a:custGeom>
              <a:avLst/>
              <a:gdLst>
                <a:gd name="T0" fmla="*/ 0 w 33"/>
                <a:gd name="T1" fmla="*/ 51 h 51"/>
                <a:gd name="T2" fmla="*/ 3 w 33"/>
                <a:gd name="T3" fmla="*/ 18 h 51"/>
                <a:gd name="T4" fmla="*/ 23 w 33"/>
                <a:gd name="T5" fmla="*/ 0 h 51"/>
                <a:gd name="T6" fmla="*/ 33 w 33"/>
                <a:gd name="T7" fmla="*/ 11 h 51"/>
                <a:gd name="T8" fmla="*/ 15 w 33"/>
                <a:gd name="T9" fmla="*/ 42 h 51"/>
                <a:gd name="T10" fmla="*/ 0 w 33"/>
                <a:gd name="T11" fmla="*/ 51 h 51"/>
                <a:gd name="T12" fmla="*/ 0 60000 65536"/>
                <a:gd name="T13" fmla="*/ 0 60000 65536"/>
                <a:gd name="T14" fmla="*/ 0 60000 65536"/>
                <a:gd name="T15" fmla="*/ 0 60000 65536"/>
                <a:gd name="T16" fmla="*/ 0 60000 65536"/>
                <a:gd name="T17" fmla="*/ 0 60000 65536"/>
                <a:gd name="T18" fmla="*/ 0 w 33"/>
                <a:gd name="T19" fmla="*/ 0 h 51"/>
                <a:gd name="T20" fmla="*/ 33 w 3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33" h="51">
                  <a:moveTo>
                    <a:pt x="0" y="51"/>
                  </a:moveTo>
                  <a:lnTo>
                    <a:pt x="3" y="18"/>
                  </a:lnTo>
                  <a:lnTo>
                    <a:pt x="23" y="0"/>
                  </a:lnTo>
                  <a:lnTo>
                    <a:pt x="33" y="11"/>
                  </a:lnTo>
                  <a:lnTo>
                    <a:pt x="15" y="42"/>
                  </a:lnTo>
                  <a:lnTo>
                    <a:pt x="0" y="5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nvGrpSpPr>
            <p:cNvPr id="45" name="Group 195">
              <a:extLst>
                <a:ext uri="{FF2B5EF4-FFF2-40B4-BE49-F238E27FC236}">
                  <a16:creationId xmlns:a16="http://schemas.microsoft.com/office/drawing/2014/main" id="{7AB519B2-2AC3-4C77-88FB-D6F17AA9085C}"/>
                </a:ext>
              </a:extLst>
            </p:cNvPr>
            <p:cNvGrpSpPr/>
            <p:nvPr/>
          </p:nvGrpSpPr>
          <p:grpSpPr bwMode="gray">
            <a:xfrm>
              <a:off x="4599257" y="1719537"/>
              <a:ext cx="729893" cy="542791"/>
              <a:chOff x="4599257" y="1719537"/>
              <a:chExt cx="729893" cy="542791"/>
            </a:xfrm>
            <a:grpFill/>
          </p:grpSpPr>
          <p:sp>
            <p:nvSpPr>
              <p:cNvPr id="70" name="Freeform 70">
                <a:extLst>
                  <a:ext uri="{FF2B5EF4-FFF2-40B4-BE49-F238E27FC236}">
                    <a16:creationId xmlns:a16="http://schemas.microsoft.com/office/drawing/2014/main" id="{045E6CDE-954F-41F9-9533-248418604592}"/>
                  </a:ext>
                </a:extLst>
              </p:cNvPr>
              <p:cNvSpPr>
                <a:spLocks/>
              </p:cNvSpPr>
              <p:nvPr/>
            </p:nvSpPr>
            <p:spPr bwMode="gray">
              <a:xfrm>
                <a:off x="4599257" y="1719537"/>
                <a:ext cx="572026" cy="512582"/>
              </a:xfrm>
              <a:custGeom>
                <a:avLst/>
                <a:gdLst>
                  <a:gd name="T0" fmla="*/ 0 w 1173"/>
                  <a:gd name="T1" fmla="*/ 906 h 1052"/>
                  <a:gd name="T2" fmla="*/ 38 w 1173"/>
                  <a:gd name="T3" fmla="*/ 965 h 1052"/>
                  <a:gd name="T4" fmla="*/ 803 w 1173"/>
                  <a:gd name="T5" fmla="*/ 819 h 1052"/>
                  <a:gd name="T6" fmla="*/ 856 w 1173"/>
                  <a:gd name="T7" fmla="*/ 847 h 1052"/>
                  <a:gd name="T8" fmla="*/ 887 w 1173"/>
                  <a:gd name="T9" fmla="*/ 906 h 1052"/>
                  <a:gd name="T10" fmla="*/ 962 w 1173"/>
                  <a:gd name="T11" fmla="*/ 949 h 1052"/>
                  <a:gd name="T12" fmla="*/ 1132 w 1173"/>
                  <a:gd name="T13" fmla="*/ 1006 h 1052"/>
                  <a:gd name="T14" fmla="*/ 1134 w 1173"/>
                  <a:gd name="T15" fmla="*/ 1029 h 1052"/>
                  <a:gd name="T16" fmla="*/ 1145 w 1173"/>
                  <a:gd name="T17" fmla="*/ 1052 h 1052"/>
                  <a:gd name="T18" fmla="*/ 1156 w 1173"/>
                  <a:gd name="T19" fmla="*/ 1039 h 1052"/>
                  <a:gd name="T20" fmla="*/ 1172 w 1173"/>
                  <a:gd name="T21" fmla="*/ 989 h 1052"/>
                  <a:gd name="T22" fmla="*/ 1173 w 1173"/>
                  <a:gd name="T23" fmla="*/ 900 h 1052"/>
                  <a:gd name="T24" fmla="*/ 1145 w 1173"/>
                  <a:gd name="T25" fmla="*/ 730 h 1052"/>
                  <a:gd name="T26" fmla="*/ 1143 w 1173"/>
                  <a:gd name="T27" fmla="*/ 551 h 1052"/>
                  <a:gd name="T28" fmla="*/ 1113 w 1173"/>
                  <a:gd name="T29" fmla="*/ 410 h 1052"/>
                  <a:gd name="T30" fmla="*/ 1062 w 1173"/>
                  <a:gd name="T31" fmla="*/ 294 h 1052"/>
                  <a:gd name="T32" fmla="*/ 1047 w 1173"/>
                  <a:gd name="T33" fmla="*/ 178 h 1052"/>
                  <a:gd name="T34" fmla="*/ 998 w 1173"/>
                  <a:gd name="T35" fmla="*/ 0 h 1052"/>
                  <a:gd name="T36" fmla="*/ 763 w 1173"/>
                  <a:gd name="T37" fmla="*/ 59 h 1052"/>
                  <a:gd name="T38" fmla="*/ 748 w 1173"/>
                  <a:gd name="T39" fmla="*/ 57 h 1052"/>
                  <a:gd name="T40" fmla="*/ 673 w 1173"/>
                  <a:gd name="T41" fmla="*/ 115 h 1052"/>
                  <a:gd name="T42" fmla="*/ 609 w 1173"/>
                  <a:gd name="T43" fmla="*/ 209 h 1052"/>
                  <a:gd name="T44" fmla="*/ 604 w 1173"/>
                  <a:gd name="T45" fmla="*/ 248 h 1052"/>
                  <a:gd name="T46" fmla="*/ 573 w 1173"/>
                  <a:gd name="T47" fmla="*/ 290 h 1052"/>
                  <a:gd name="T48" fmla="*/ 522 w 1173"/>
                  <a:gd name="T49" fmla="*/ 337 h 1052"/>
                  <a:gd name="T50" fmla="*/ 544 w 1173"/>
                  <a:gd name="T51" fmla="*/ 370 h 1052"/>
                  <a:gd name="T52" fmla="*/ 550 w 1173"/>
                  <a:gd name="T53" fmla="*/ 346 h 1052"/>
                  <a:gd name="T54" fmla="*/ 567 w 1173"/>
                  <a:gd name="T55" fmla="*/ 353 h 1052"/>
                  <a:gd name="T56" fmla="*/ 557 w 1173"/>
                  <a:gd name="T57" fmla="*/ 364 h 1052"/>
                  <a:gd name="T58" fmla="*/ 568 w 1173"/>
                  <a:gd name="T59" fmla="*/ 370 h 1052"/>
                  <a:gd name="T60" fmla="*/ 560 w 1173"/>
                  <a:gd name="T61" fmla="*/ 394 h 1052"/>
                  <a:gd name="T62" fmla="*/ 550 w 1173"/>
                  <a:gd name="T63" fmla="*/ 391 h 1052"/>
                  <a:gd name="T64" fmla="*/ 548 w 1173"/>
                  <a:gd name="T65" fmla="*/ 402 h 1052"/>
                  <a:gd name="T66" fmla="*/ 572 w 1173"/>
                  <a:gd name="T67" fmla="*/ 437 h 1052"/>
                  <a:gd name="T68" fmla="*/ 574 w 1173"/>
                  <a:gd name="T69" fmla="*/ 467 h 1052"/>
                  <a:gd name="T70" fmla="*/ 537 w 1173"/>
                  <a:gd name="T71" fmla="*/ 484 h 1052"/>
                  <a:gd name="T72" fmla="*/ 500 w 1173"/>
                  <a:gd name="T73" fmla="*/ 541 h 1052"/>
                  <a:gd name="T74" fmla="*/ 458 w 1173"/>
                  <a:gd name="T75" fmla="*/ 570 h 1052"/>
                  <a:gd name="T76" fmla="*/ 385 w 1173"/>
                  <a:gd name="T77" fmla="*/ 575 h 1052"/>
                  <a:gd name="T78" fmla="*/ 359 w 1173"/>
                  <a:gd name="T79" fmla="*/ 596 h 1052"/>
                  <a:gd name="T80" fmla="*/ 315 w 1173"/>
                  <a:gd name="T81" fmla="*/ 577 h 1052"/>
                  <a:gd name="T82" fmla="*/ 188 w 1173"/>
                  <a:gd name="T83" fmla="*/ 592 h 1052"/>
                  <a:gd name="T84" fmla="*/ 93 w 1173"/>
                  <a:gd name="T85" fmla="*/ 631 h 1052"/>
                  <a:gd name="T86" fmla="*/ 98 w 1173"/>
                  <a:gd name="T87" fmla="*/ 663 h 1052"/>
                  <a:gd name="T88" fmla="*/ 93 w 1173"/>
                  <a:gd name="T89" fmla="*/ 679 h 1052"/>
                  <a:gd name="T90" fmla="*/ 99 w 1173"/>
                  <a:gd name="T91" fmla="*/ 679 h 1052"/>
                  <a:gd name="T92" fmla="*/ 113 w 1173"/>
                  <a:gd name="T93" fmla="*/ 711 h 1052"/>
                  <a:gd name="T94" fmla="*/ 127 w 1173"/>
                  <a:gd name="T95" fmla="*/ 710 h 1052"/>
                  <a:gd name="T96" fmla="*/ 142 w 1173"/>
                  <a:gd name="T97" fmla="*/ 742 h 1052"/>
                  <a:gd name="T98" fmla="*/ 140 w 1173"/>
                  <a:gd name="T99" fmla="*/ 754 h 1052"/>
                  <a:gd name="T100" fmla="*/ 114 w 1173"/>
                  <a:gd name="T101" fmla="*/ 772 h 1052"/>
                  <a:gd name="T102" fmla="*/ 104 w 1173"/>
                  <a:gd name="T103" fmla="*/ 808 h 1052"/>
                  <a:gd name="T104" fmla="*/ 0 w 1173"/>
                  <a:gd name="T105" fmla="*/ 906 h 10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73"/>
                  <a:gd name="T160" fmla="*/ 0 h 1052"/>
                  <a:gd name="T161" fmla="*/ 1173 w 1173"/>
                  <a:gd name="T162" fmla="*/ 1052 h 10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73" h="1052">
                    <a:moveTo>
                      <a:pt x="0" y="906"/>
                    </a:moveTo>
                    <a:lnTo>
                      <a:pt x="38" y="965"/>
                    </a:lnTo>
                    <a:lnTo>
                      <a:pt x="803" y="819"/>
                    </a:lnTo>
                    <a:lnTo>
                      <a:pt x="856" y="847"/>
                    </a:lnTo>
                    <a:lnTo>
                      <a:pt x="887" y="906"/>
                    </a:lnTo>
                    <a:lnTo>
                      <a:pt x="962" y="949"/>
                    </a:lnTo>
                    <a:lnTo>
                      <a:pt x="1132" y="1006"/>
                    </a:lnTo>
                    <a:lnTo>
                      <a:pt x="1134" y="1029"/>
                    </a:lnTo>
                    <a:lnTo>
                      <a:pt x="1145" y="1052"/>
                    </a:lnTo>
                    <a:lnTo>
                      <a:pt x="1156" y="1039"/>
                    </a:lnTo>
                    <a:lnTo>
                      <a:pt x="1172" y="989"/>
                    </a:lnTo>
                    <a:lnTo>
                      <a:pt x="1173" y="900"/>
                    </a:lnTo>
                    <a:lnTo>
                      <a:pt x="1145" y="730"/>
                    </a:lnTo>
                    <a:lnTo>
                      <a:pt x="1143" y="551"/>
                    </a:lnTo>
                    <a:lnTo>
                      <a:pt x="1113" y="410"/>
                    </a:lnTo>
                    <a:lnTo>
                      <a:pt x="1062" y="294"/>
                    </a:lnTo>
                    <a:lnTo>
                      <a:pt x="1047" y="178"/>
                    </a:lnTo>
                    <a:lnTo>
                      <a:pt x="998" y="0"/>
                    </a:lnTo>
                    <a:lnTo>
                      <a:pt x="763" y="59"/>
                    </a:lnTo>
                    <a:lnTo>
                      <a:pt x="748" y="57"/>
                    </a:lnTo>
                    <a:lnTo>
                      <a:pt x="673" y="115"/>
                    </a:lnTo>
                    <a:lnTo>
                      <a:pt x="609" y="209"/>
                    </a:lnTo>
                    <a:lnTo>
                      <a:pt x="604" y="248"/>
                    </a:lnTo>
                    <a:lnTo>
                      <a:pt x="573" y="290"/>
                    </a:lnTo>
                    <a:lnTo>
                      <a:pt x="522" y="337"/>
                    </a:lnTo>
                    <a:lnTo>
                      <a:pt x="544" y="370"/>
                    </a:lnTo>
                    <a:lnTo>
                      <a:pt x="550" y="346"/>
                    </a:lnTo>
                    <a:lnTo>
                      <a:pt x="567" y="353"/>
                    </a:lnTo>
                    <a:lnTo>
                      <a:pt x="557" y="364"/>
                    </a:lnTo>
                    <a:lnTo>
                      <a:pt x="568" y="370"/>
                    </a:lnTo>
                    <a:lnTo>
                      <a:pt x="560" y="394"/>
                    </a:lnTo>
                    <a:lnTo>
                      <a:pt x="550" y="391"/>
                    </a:lnTo>
                    <a:lnTo>
                      <a:pt x="548" y="402"/>
                    </a:lnTo>
                    <a:lnTo>
                      <a:pt x="572" y="437"/>
                    </a:lnTo>
                    <a:lnTo>
                      <a:pt x="574" y="467"/>
                    </a:lnTo>
                    <a:lnTo>
                      <a:pt x="537" y="484"/>
                    </a:lnTo>
                    <a:lnTo>
                      <a:pt x="500" y="541"/>
                    </a:lnTo>
                    <a:lnTo>
                      <a:pt x="458" y="570"/>
                    </a:lnTo>
                    <a:lnTo>
                      <a:pt x="385" y="575"/>
                    </a:lnTo>
                    <a:lnTo>
                      <a:pt x="359" y="596"/>
                    </a:lnTo>
                    <a:lnTo>
                      <a:pt x="315" y="577"/>
                    </a:lnTo>
                    <a:lnTo>
                      <a:pt x="188" y="592"/>
                    </a:lnTo>
                    <a:lnTo>
                      <a:pt x="93" y="631"/>
                    </a:lnTo>
                    <a:lnTo>
                      <a:pt x="98" y="663"/>
                    </a:lnTo>
                    <a:lnTo>
                      <a:pt x="93" y="679"/>
                    </a:lnTo>
                    <a:lnTo>
                      <a:pt x="99" y="679"/>
                    </a:lnTo>
                    <a:lnTo>
                      <a:pt x="113" y="711"/>
                    </a:lnTo>
                    <a:lnTo>
                      <a:pt x="127" y="710"/>
                    </a:lnTo>
                    <a:lnTo>
                      <a:pt x="142" y="742"/>
                    </a:lnTo>
                    <a:lnTo>
                      <a:pt x="140" y="754"/>
                    </a:lnTo>
                    <a:lnTo>
                      <a:pt x="114" y="772"/>
                    </a:lnTo>
                    <a:lnTo>
                      <a:pt x="104" y="808"/>
                    </a:lnTo>
                    <a:lnTo>
                      <a:pt x="0" y="906"/>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71" name="Freeform 72">
                <a:extLst>
                  <a:ext uri="{FF2B5EF4-FFF2-40B4-BE49-F238E27FC236}">
                    <a16:creationId xmlns:a16="http://schemas.microsoft.com/office/drawing/2014/main" id="{4DFAA099-90BF-49E4-B7EE-12EE4953F5DE}"/>
                  </a:ext>
                </a:extLst>
              </p:cNvPr>
              <p:cNvSpPr>
                <a:spLocks/>
              </p:cNvSpPr>
              <p:nvPr/>
            </p:nvSpPr>
            <p:spPr bwMode="gray">
              <a:xfrm>
                <a:off x="5149844" y="2156109"/>
                <a:ext cx="179306" cy="106219"/>
              </a:xfrm>
              <a:custGeom>
                <a:avLst/>
                <a:gdLst>
                  <a:gd name="T0" fmla="*/ 0 w 369"/>
                  <a:gd name="T1" fmla="*/ 197 h 218"/>
                  <a:gd name="T2" fmla="*/ 8 w 369"/>
                  <a:gd name="T3" fmla="*/ 215 h 218"/>
                  <a:gd name="T4" fmla="*/ 18 w 369"/>
                  <a:gd name="T5" fmla="*/ 216 h 218"/>
                  <a:gd name="T6" fmla="*/ 31 w 369"/>
                  <a:gd name="T7" fmla="*/ 198 h 218"/>
                  <a:gd name="T8" fmla="*/ 43 w 369"/>
                  <a:gd name="T9" fmla="*/ 193 h 218"/>
                  <a:gd name="T10" fmla="*/ 47 w 369"/>
                  <a:gd name="T11" fmla="*/ 198 h 218"/>
                  <a:gd name="T12" fmla="*/ 27 w 369"/>
                  <a:gd name="T13" fmla="*/ 218 h 218"/>
                  <a:gd name="T14" fmla="*/ 62 w 369"/>
                  <a:gd name="T15" fmla="*/ 204 h 218"/>
                  <a:gd name="T16" fmla="*/ 65 w 369"/>
                  <a:gd name="T17" fmla="*/ 196 h 218"/>
                  <a:gd name="T18" fmla="*/ 115 w 369"/>
                  <a:gd name="T19" fmla="*/ 173 h 218"/>
                  <a:gd name="T20" fmla="*/ 156 w 369"/>
                  <a:gd name="T21" fmla="*/ 144 h 218"/>
                  <a:gd name="T22" fmla="*/ 203 w 369"/>
                  <a:gd name="T23" fmla="*/ 125 h 218"/>
                  <a:gd name="T24" fmla="*/ 242 w 369"/>
                  <a:gd name="T25" fmla="*/ 101 h 218"/>
                  <a:gd name="T26" fmla="*/ 240 w 369"/>
                  <a:gd name="T27" fmla="*/ 106 h 218"/>
                  <a:gd name="T28" fmla="*/ 164 w 369"/>
                  <a:gd name="T29" fmla="*/ 163 h 218"/>
                  <a:gd name="T30" fmla="*/ 150 w 369"/>
                  <a:gd name="T31" fmla="*/ 167 h 218"/>
                  <a:gd name="T32" fmla="*/ 161 w 369"/>
                  <a:gd name="T33" fmla="*/ 171 h 218"/>
                  <a:gd name="T34" fmla="*/ 180 w 369"/>
                  <a:gd name="T35" fmla="*/ 158 h 218"/>
                  <a:gd name="T36" fmla="*/ 296 w 369"/>
                  <a:gd name="T37" fmla="*/ 74 h 218"/>
                  <a:gd name="T38" fmla="*/ 312 w 369"/>
                  <a:gd name="T39" fmla="*/ 58 h 218"/>
                  <a:gd name="T40" fmla="*/ 365 w 369"/>
                  <a:gd name="T41" fmla="*/ 14 h 218"/>
                  <a:gd name="T42" fmla="*/ 369 w 369"/>
                  <a:gd name="T43" fmla="*/ 2 h 218"/>
                  <a:gd name="T44" fmla="*/ 359 w 369"/>
                  <a:gd name="T45" fmla="*/ 3 h 218"/>
                  <a:gd name="T46" fmla="*/ 332 w 369"/>
                  <a:gd name="T47" fmla="*/ 28 h 218"/>
                  <a:gd name="T48" fmla="*/ 318 w 369"/>
                  <a:gd name="T49" fmla="*/ 22 h 218"/>
                  <a:gd name="T50" fmla="*/ 294 w 369"/>
                  <a:gd name="T51" fmla="*/ 39 h 218"/>
                  <a:gd name="T52" fmla="*/ 288 w 369"/>
                  <a:gd name="T53" fmla="*/ 34 h 218"/>
                  <a:gd name="T54" fmla="*/ 267 w 369"/>
                  <a:gd name="T55" fmla="*/ 84 h 218"/>
                  <a:gd name="T56" fmla="*/ 259 w 369"/>
                  <a:gd name="T57" fmla="*/ 74 h 218"/>
                  <a:gd name="T58" fmla="*/ 240 w 369"/>
                  <a:gd name="T59" fmla="*/ 74 h 218"/>
                  <a:gd name="T60" fmla="*/ 273 w 369"/>
                  <a:gd name="T61" fmla="*/ 36 h 218"/>
                  <a:gd name="T62" fmla="*/ 268 w 369"/>
                  <a:gd name="T63" fmla="*/ 27 h 218"/>
                  <a:gd name="T64" fmla="*/ 294 w 369"/>
                  <a:gd name="T65" fmla="*/ 0 h 218"/>
                  <a:gd name="T66" fmla="*/ 285 w 369"/>
                  <a:gd name="T67" fmla="*/ 1 h 218"/>
                  <a:gd name="T68" fmla="*/ 235 w 369"/>
                  <a:gd name="T69" fmla="*/ 56 h 218"/>
                  <a:gd name="T70" fmla="*/ 176 w 369"/>
                  <a:gd name="T71" fmla="*/ 79 h 218"/>
                  <a:gd name="T72" fmla="*/ 145 w 369"/>
                  <a:gd name="T73" fmla="*/ 82 h 218"/>
                  <a:gd name="T74" fmla="*/ 140 w 369"/>
                  <a:gd name="T75" fmla="*/ 97 h 218"/>
                  <a:gd name="T76" fmla="*/ 102 w 369"/>
                  <a:gd name="T77" fmla="*/ 108 h 218"/>
                  <a:gd name="T78" fmla="*/ 86 w 369"/>
                  <a:gd name="T79" fmla="*/ 106 h 218"/>
                  <a:gd name="T80" fmla="*/ 86 w 369"/>
                  <a:gd name="T81" fmla="*/ 117 h 218"/>
                  <a:gd name="T82" fmla="*/ 71 w 369"/>
                  <a:gd name="T83" fmla="*/ 117 h 218"/>
                  <a:gd name="T84" fmla="*/ 60 w 369"/>
                  <a:gd name="T85" fmla="*/ 126 h 218"/>
                  <a:gd name="T86" fmla="*/ 57 w 369"/>
                  <a:gd name="T87" fmla="*/ 144 h 218"/>
                  <a:gd name="T88" fmla="*/ 49 w 369"/>
                  <a:gd name="T89" fmla="*/ 138 h 218"/>
                  <a:gd name="T90" fmla="*/ 41 w 369"/>
                  <a:gd name="T91" fmla="*/ 157 h 218"/>
                  <a:gd name="T92" fmla="*/ 15 w 369"/>
                  <a:gd name="T93" fmla="*/ 165 h 218"/>
                  <a:gd name="T94" fmla="*/ 12 w 369"/>
                  <a:gd name="T95" fmla="*/ 179 h 218"/>
                  <a:gd name="T96" fmla="*/ 0 w 369"/>
                  <a:gd name="T97" fmla="*/ 197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9"/>
                  <a:gd name="T148" fmla="*/ 0 h 218"/>
                  <a:gd name="T149" fmla="*/ 369 w 369"/>
                  <a:gd name="T150" fmla="*/ 218 h 2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9" h="218">
                    <a:moveTo>
                      <a:pt x="0" y="197"/>
                    </a:moveTo>
                    <a:lnTo>
                      <a:pt x="8" y="215"/>
                    </a:lnTo>
                    <a:lnTo>
                      <a:pt x="18" y="216"/>
                    </a:lnTo>
                    <a:lnTo>
                      <a:pt x="31" y="198"/>
                    </a:lnTo>
                    <a:lnTo>
                      <a:pt x="43" y="193"/>
                    </a:lnTo>
                    <a:lnTo>
                      <a:pt x="47" y="198"/>
                    </a:lnTo>
                    <a:lnTo>
                      <a:pt x="27" y="218"/>
                    </a:lnTo>
                    <a:lnTo>
                      <a:pt x="62" y="204"/>
                    </a:lnTo>
                    <a:lnTo>
                      <a:pt x="65" y="196"/>
                    </a:lnTo>
                    <a:lnTo>
                      <a:pt x="115" y="173"/>
                    </a:lnTo>
                    <a:lnTo>
                      <a:pt x="156" y="144"/>
                    </a:lnTo>
                    <a:lnTo>
                      <a:pt x="203" y="125"/>
                    </a:lnTo>
                    <a:lnTo>
                      <a:pt x="242" y="101"/>
                    </a:lnTo>
                    <a:lnTo>
                      <a:pt x="240" y="106"/>
                    </a:lnTo>
                    <a:lnTo>
                      <a:pt x="164" y="163"/>
                    </a:lnTo>
                    <a:lnTo>
                      <a:pt x="150" y="167"/>
                    </a:lnTo>
                    <a:lnTo>
                      <a:pt x="161" y="171"/>
                    </a:lnTo>
                    <a:lnTo>
                      <a:pt x="180" y="158"/>
                    </a:lnTo>
                    <a:lnTo>
                      <a:pt x="296" y="74"/>
                    </a:lnTo>
                    <a:lnTo>
                      <a:pt x="312" y="58"/>
                    </a:lnTo>
                    <a:lnTo>
                      <a:pt x="365" y="14"/>
                    </a:lnTo>
                    <a:lnTo>
                      <a:pt x="369" y="2"/>
                    </a:lnTo>
                    <a:lnTo>
                      <a:pt x="359" y="3"/>
                    </a:lnTo>
                    <a:lnTo>
                      <a:pt x="332" y="28"/>
                    </a:lnTo>
                    <a:lnTo>
                      <a:pt x="318" y="22"/>
                    </a:lnTo>
                    <a:lnTo>
                      <a:pt x="294" y="39"/>
                    </a:lnTo>
                    <a:lnTo>
                      <a:pt x="288" y="34"/>
                    </a:lnTo>
                    <a:lnTo>
                      <a:pt x="267" y="84"/>
                    </a:lnTo>
                    <a:lnTo>
                      <a:pt x="259" y="74"/>
                    </a:lnTo>
                    <a:lnTo>
                      <a:pt x="240" y="74"/>
                    </a:lnTo>
                    <a:lnTo>
                      <a:pt x="273" y="36"/>
                    </a:lnTo>
                    <a:lnTo>
                      <a:pt x="268" y="27"/>
                    </a:lnTo>
                    <a:lnTo>
                      <a:pt x="294" y="0"/>
                    </a:lnTo>
                    <a:lnTo>
                      <a:pt x="285" y="1"/>
                    </a:lnTo>
                    <a:lnTo>
                      <a:pt x="235" y="56"/>
                    </a:lnTo>
                    <a:lnTo>
                      <a:pt x="176" y="79"/>
                    </a:lnTo>
                    <a:lnTo>
                      <a:pt x="145" y="82"/>
                    </a:lnTo>
                    <a:lnTo>
                      <a:pt x="140" y="97"/>
                    </a:lnTo>
                    <a:lnTo>
                      <a:pt x="102" y="108"/>
                    </a:lnTo>
                    <a:lnTo>
                      <a:pt x="86" y="106"/>
                    </a:lnTo>
                    <a:lnTo>
                      <a:pt x="86" y="117"/>
                    </a:lnTo>
                    <a:lnTo>
                      <a:pt x="71" y="117"/>
                    </a:lnTo>
                    <a:lnTo>
                      <a:pt x="60" y="126"/>
                    </a:lnTo>
                    <a:lnTo>
                      <a:pt x="57" y="144"/>
                    </a:lnTo>
                    <a:lnTo>
                      <a:pt x="49" y="138"/>
                    </a:lnTo>
                    <a:lnTo>
                      <a:pt x="41" y="157"/>
                    </a:lnTo>
                    <a:lnTo>
                      <a:pt x="15" y="165"/>
                    </a:lnTo>
                    <a:lnTo>
                      <a:pt x="12" y="179"/>
                    </a:lnTo>
                    <a:lnTo>
                      <a:pt x="0" y="19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46" name="Freeform 73">
              <a:extLst>
                <a:ext uri="{FF2B5EF4-FFF2-40B4-BE49-F238E27FC236}">
                  <a16:creationId xmlns:a16="http://schemas.microsoft.com/office/drawing/2014/main" id="{CDEC8ED0-85D4-4B5E-B24A-3DF502F2CBF6}"/>
                </a:ext>
              </a:extLst>
            </p:cNvPr>
            <p:cNvSpPr>
              <a:spLocks/>
            </p:cNvSpPr>
            <p:nvPr/>
          </p:nvSpPr>
          <p:spPr bwMode="gray">
            <a:xfrm>
              <a:off x="4298140" y="2786604"/>
              <a:ext cx="825394" cy="369332"/>
            </a:xfrm>
            <a:custGeom>
              <a:avLst/>
              <a:gdLst>
                <a:gd name="T0" fmla="*/ 1 w 1693"/>
                <a:gd name="T1" fmla="*/ 652 h 757"/>
                <a:gd name="T2" fmla="*/ 390 w 1693"/>
                <a:gd name="T3" fmla="*/ 551 h 757"/>
                <a:gd name="T4" fmla="*/ 770 w 1693"/>
                <a:gd name="T5" fmla="*/ 591 h 757"/>
                <a:gd name="T6" fmla="*/ 1212 w 1693"/>
                <a:gd name="T7" fmla="*/ 757 h 757"/>
                <a:gd name="T8" fmla="*/ 1315 w 1693"/>
                <a:gd name="T9" fmla="*/ 732 h 757"/>
                <a:gd name="T10" fmla="*/ 1341 w 1693"/>
                <a:gd name="T11" fmla="*/ 708 h 757"/>
                <a:gd name="T12" fmla="*/ 1394 w 1693"/>
                <a:gd name="T13" fmla="*/ 573 h 757"/>
                <a:gd name="T14" fmla="*/ 1409 w 1693"/>
                <a:gd name="T15" fmla="*/ 538 h 757"/>
                <a:gd name="T16" fmla="*/ 1399 w 1693"/>
                <a:gd name="T17" fmla="*/ 498 h 757"/>
                <a:gd name="T18" fmla="*/ 1418 w 1693"/>
                <a:gd name="T19" fmla="*/ 530 h 757"/>
                <a:gd name="T20" fmla="*/ 1454 w 1693"/>
                <a:gd name="T21" fmla="*/ 517 h 757"/>
                <a:gd name="T22" fmla="*/ 1455 w 1693"/>
                <a:gd name="T23" fmla="*/ 480 h 757"/>
                <a:gd name="T24" fmla="*/ 1476 w 1693"/>
                <a:gd name="T25" fmla="*/ 500 h 757"/>
                <a:gd name="T26" fmla="*/ 1584 w 1693"/>
                <a:gd name="T27" fmla="*/ 467 h 757"/>
                <a:gd name="T28" fmla="*/ 1607 w 1693"/>
                <a:gd name="T29" fmla="*/ 387 h 757"/>
                <a:gd name="T30" fmla="*/ 1581 w 1693"/>
                <a:gd name="T31" fmla="*/ 380 h 757"/>
                <a:gd name="T32" fmla="*/ 1569 w 1693"/>
                <a:gd name="T33" fmla="*/ 419 h 757"/>
                <a:gd name="T34" fmla="*/ 1545 w 1693"/>
                <a:gd name="T35" fmla="*/ 427 h 757"/>
                <a:gd name="T36" fmla="*/ 1452 w 1693"/>
                <a:gd name="T37" fmla="*/ 399 h 757"/>
                <a:gd name="T38" fmla="*/ 1512 w 1693"/>
                <a:gd name="T39" fmla="*/ 417 h 757"/>
                <a:gd name="T40" fmla="*/ 1536 w 1693"/>
                <a:gd name="T41" fmla="*/ 362 h 757"/>
                <a:gd name="T42" fmla="*/ 1533 w 1693"/>
                <a:gd name="T43" fmla="*/ 332 h 757"/>
                <a:gd name="T44" fmla="*/ 1489 w 1693"/>
                <a:gd name="T45" fmla="*/ 290 h 757"/>
                <a:gd name="T46" fmla="*/ 1533 w 1693"/>
                <a:gd name="T47" fmla="*/ 297 h 757"/>
                <a:gd name="T48" fmla="*/ 1530 w 1693"/>
                <a:gd name="T49" fmla="*/ 274 h 757"/>
                <a:gd name="T50" fmla="*/ 1541 w 1693"/>
                <a:gd name="T51" fmla="*/ 282 h 757"/>
                <a:gd name="T52" fmla="*/ 1571 w 1693"/>
                <a:gd name="T53" fmla="*/ 285 h 757"/>
                <a:gd name="T54" fmla="*/ 1602 w 1693"/>
                <a:gd name="T55" fmla="*/ 304 h 757"/>
                <a:gd name="T56" fmla="*/ 1650 w 1693"/>
                <a:gd name="T57" fmla="*/ 274 h 757"/>
                <a:gd name="T58" fmla="*/ 1693 w 1693"/>
                <a:gd name="T59" fmla="*/ 219 h 757"/>
                <a:gd name="T60" fmla="*/ 1675 w 1693"/>
                <a:gd name="T61" fmla="*/ 151 h 757"/>
                <a:gd name="T62" fmla="*/ 1623 w 1693"/>
                <a:gd name="T63" fmla="*/ 219 h 757"/>
                <a:gd name="T64" fmla="*/ 1607 w 1693"/>
                <a:gd name="T65" fmla="*/ 140 h 757"/>
                <a:gd name="T66" fmla="*/ 1483 w 1693"/>
                <a:gd name="T67" fmla="*/ 181 h 757"/>
                <a:gd name="T68" fmla="*/ 1528 w 1693"/>
                <a:gd name="T69" fmla="*/ 129 h 757"/>
                <a:gd name="T70" fmla="*/ 1575 w 1693"/>
                <a:gd name="T71" fmla="*/ 64 h 757"/>
                <a:gd name="T72" fmla="*/ 1609 w 1693"/>
                <a:gd name="T73" fmla="*/ 57 h 757"/>
                <a:gd name="T74" fmla="*/ 1620 w 1693"/>
                <a:gd name="T75" fmla="*/ 29 h 757"/>
                <a:gd name="T76" fmla="*/ 982 w 1693"/>
                <a:gd name="T77" fmla="*/ 116 h 757"/>
                <a:gd name="T78" fmla="*/ 475 w 1693"/>
                <a:gd name="T79" fmla="*/ 237 h 757"/>
                <a:gd name="T80" fmla="*/ 413 w 1693"/>
                <a:gd name="T81" fmla="*/ 317 h 757"/>
                <a:gd name="T82" fmla="*/ 355 w 1693"/>
                <a:gd name="T83" fmla="*/ 330 h 757"/>
                <a:gd name="T84" fmla="*/ 305 w 1693"/>
                <a:gd name="T85" fmla="*/ 341 h 757"/>
                <a:gd name="T86" fmla="*/ 254 w 1693"/>
                <a:gd name="T87" fmla="*/ 413 h 757"/>
                <a:gd name="T88" fmla="*/ 51 w 1693"/>
                <a:gd name="T89" fmla="*/ 570 h 7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93"/>
                <a:gd name="T136" fmla="*/ 0 h 757"/>
                <a:gd name="T137" fmla="*/ 1693 w 1693"/>
                <a:gd name="T138" fmla="*/ 757 h 75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93" h="757">
                  <a:moveTo>
                    <a:pt x="0" y="595"/>
                  </a:moveTo>
                  <a:lnTo>
                    <a:pt x="1" y="652"/>
                  </a:lnTo>
                  <a:lnTo>
                    <a:pt x="246" y="622"/>
                  </a:lnTo>
                  <a:lnTo>
                    <a:pt x="390" y="551"/>
                  </a:lnTo>
                  <a:lnTo>
                    <a:pt x="659" y="519"/>
                  </a:lnTo>
                  <a:lnTo>
                    <a:pt x="770" y="591"/>
                  </a:lnTo>
                  <a:lnTo>
                    <a:pt x="946" y="565"/>
                  </a:lnTo>
                  <a:lnTo>
                    <a:pt x="1212" y="757"/>
                  </a:lnTo>
                  <a:lnTo>
                    <a:pt x="1248" y="736"/>
                  </a:lnTo>
                  <a:lnTo>
                    <a:pt x="1315" y="732"/>
                  </a:lnTo>
                  <a:lnTo>
                    <a:pt x="1328" y="681"/>
                  </a:lnTo>
                  <a:lnTo>
                    <a:pt x="1341" y="708"/>
                  </a:lnTo>
                  <a:lnTo>
                    <a:pt x="1359" y="621"/>
                  </a:lnTo>
                  <a:lnTo>
                    <a:pt x="1394" y="573"/>
                  </a:lnTo>
                  <a:lnTo>
                    <a:pt x="1426" y="549"/>
                  </a:lnTo>
                  <a:lnTo>
                    <a:pt x="1409" y="538"/>
                  </a:lnTo>
                  <a:lnTo>
                    <a:pt x="1415" y="518"/>
                  </a:lnTo>
                  <a:lnTo>
                    <a:pt x="1399" y="498"/>
                  </a:lnTo>
                  <a:lnTo>
                    <a:pt x="1424" y="521"/>
                  </a:lnTo>
                  <a:lnTo>
                    <a:pt x="1418" y="530"/>
                  </a:lnTo>
                  <a:lnTo>
                    <a:pt x="1435" y="539"/>
                  </a:lnTo>
                  <a:lnTo>
                    <a:pt x="1454" y="517"/>
                  </a:lnTo>
                  <a:lnTo>
                    <a:pt x="1463" y="515"/>
                  </a:lnTo>
                  <a:lnTo>
                    <a:pt x="1455" y="480"/>
                  </a:lnTo>
                  <a:lnTo>
                    <a:pt x="1463" y="479"/>
                  </a:lnTo>
                  <a:lnTo>
                    <a:pt x="1476" y="500"/>
                  </a:lnTo>
                  <a:lnTo>
                    <a:pt x="1536" y="469"/>
                  </a:lnTo>
                  <a:lnTo>
                    <a:pt x="1584" y="467"/>
                  </a:lnTo>
                  <a:lnTo>
                    <a:pt x="1619" y="404"/>
                  </a:lnTo>
                  <a:lnTo>
                    <a:pt x="1607" y="387"/>
                  </a:lnTo>
                  <a:lnTo>
                    <a:pt x="1588" y="411"/>
                  </a:lnTo>
                  <a:lnTo>
                    <a:pt x="1581" y="380"/>
                  </a:lnTo>
                  <a:lnTo>
                    <a:pt x="1559" y="401"/>
                  </a:lnTo>
                  <a:lnTo>
                    <a:pt x="1569" y="419"/>
                  </a:lnTo>
                  <a:lnTo>
                    <a:pt x="1549" y="409"/>
                  </a:lnTo>
                  <a:lnTo>
                    <a:pt x="1545" y="427"/>
                  </a:lnTo>
                  <a:lnTo>
                    <a:pt x="1490" y="425"/>
                  </a:lnTo>
                  <a:lnTo>
                    <a:pt x="1452" y="399"/>
                  </a:lnTo>
                  <a:lnTo>
                    <a:pt x="1454" y="382"/>
                  </a:lnTo>
                  <a:lnTo>
                    <a:pt x="1512" y="417"/>
                  </a:lnTo>
                  <a:lnTo>
                    <a:pt x="1559" y="366"/>
                  </a:lnTo>
                  <a:lnTo>
                    <a:pt x="1536" y="362"/>
                  </a:lnTo>
                  <a:lnTo>
                    <a:pt x="1562" y="324"/>
                  </a:lnTo>
                  <a:lnTo>
                    <a:pt x="1533" y="332"/>
                  </a:lnTo>
                  <a:lnTo>
                    <a:pt x="1445" y="298"/>
                  </a:lnTo>
                  <a:lnTo>
                    <a:pt x="1489" y="290"/>
                  </a:lnTo>
                  <a:lnTo>
                    <a:pt x="1531" y="307"/>
                  </a:lnTo>
                  <a:lnTo>
                    <a:pt x="1533" y="297"/>
                  </a:lnTo>
                  <a:lnTo>
                    <a:pt x="1512" y="274"/>
                  </a:lnTo>
                  <a:lnTo>
                    <a:pt x="1530" y="274"/>
                  </a:lnTo>
                  <a:lnTo>
                    <a:pt x="1556" y="261"/>
                  </a:lnTo>
                  <a:lnTo>
                    <a:pt x="1541" y="282"/>
                  </a:lnTo>
                  <a:lnTo>
                    <a:pt x="1551" y="304"/>
                  </a:lnTo>
                  <a:lnTo>
                    <a:pt x="1571" y="285"/>
                  </a:lnTo>
                  <a:lnTo>
                    <a:pt x="1583" y="307"/>
                  </a:lnTo>
                  <a:lnTo>
                    <a:pt x="1602" y="304"/>
                  </a:lnTo>
                  <a:lnTo>
                    <a:pt x="1627" y="302"/>
                  </a:lnTo>
                  <a:lnTo>
                    <a:pt x="1650" y="274"/>
                  </a:lnTo>
                  <a:lnTo>
                    <a:pt x="1666" y="225"/>
                  </a:lnTo>
                  <a:lnTo>
                    <a:pt x="1693" y="219"/>
                  </a:lnTo>
                  <a:lnTo>
                    <a:pt x="1693" y="194"/>
                  </a:lnTo>
                  <a:lnTo>
                    <a:pt x="1675" y="151"/>
                  </a:lnTo>
                  <a:lnTo>
                    <a:pt x="1649" y="151"/>
                  </a:lnTo>
                  <a:lnTo>
                    <a:pt x="1623" y="219"/>
                  </a:lnTo>
                  <a:lnTo>
                    <a:pt x="1613" y="185"/>
                  </a:lnTo>
                  <a:lnTo>
                    <a:pt x="1607" y="140"/>
                  </a:lnTo>
                  <a:lnTo>
                    <a:pt x="1552" y="166"/>
                  </a:lnTo>
                  <a:lnTo>
                    <a:pt x="1483" y="181"/>
                  </a:lnTo>
                  <a:lnTo>
                    <a:pt x="1490" y="148"/>
                  </a:lnTo>
                  <a:lnTo>
                    <a:pt x="1528" y="129"/>
                  </a:lnTo>
                  <a:lnTo>
                    <a:pt x="1601" y="100"/>
                  </a:lnTo>
                  <a:lnTo>
                    <a:pt x="1575" y="64"/>
                  </a:lnTo>
                  <a:lnTo>
                    <a:pt x="1624" y="89"/>
                  </a:lnTo>
                  <a:lnTo>
                    <a:pt x="1609" y="57"/>
                  </a:lnTo>
                  <a:lnTo>
                    <a:pt x="1655" y="100"/>
                  </a:lnTo>
                  <a:lnTo>
                    <a:pt x="1620" y="29"/>
                  </a:lnTo>
                  <a:lnTo>
                    <a:pt x="1585" y="0"/>
                  </a:lnTo>
                  <a:lnTo>
                    <a:pt x="982" y="116"/>
                  </a:lnTo>
                  <a:lnTo>
                    <a:pt x="483" y="181"/>
                  </a:lnTo>
                  <a:lnTo>
                    <a:pt x="475" y="237"/>
                  </a:lnTo>
                  <a:lnTo>
                    <a:pt x="448" y="255"/>
                  </a:lnTo>
                  <a:lnTo>
                    <a:pt x="413" y="317"/>
                  </a:lnTo>
                  <a:lnTo>
                    <a:pt x="386" y="313"/>
                  </a:lnTo>
                  <a:lnTo>
                    <a:pt x="355" y="330"/>
                  </a:lnTo>
                  <a:lnTo>
                    <a:pt x="334" y="361"/>
                  </a:lnTo>
                  <a:lnTo>
                    <a:pt x="305" y="341"/>
                  </a:lnTo>
                  <a:lnTo>
                    <a:pt x="260" y="380"/>
                  </a:lnTo>
                  <a:lnTo>
                    <a:pt x="254" y="413"/>
                  </a:lnTo>
                  <a:lnTo>
                    <a:pt x="62" y="526"/>
                  </a:lnTo>
                  <a:lnTo>
                    <a:pt x="51" y="570"/>
                  </a:lnTo>
                  <a:lnTo>
                    <a:pt x="0" y="595"/>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7" name="Freeform 74">
              <a:extLst>
                <a:ext uri="{FF2B5EF4-FFF2-40B4-BE49-F238E27FC236}">
                  <a16:creationId xmlns:a16="http://schemas.microsoft.com/office/drawing/2014/main" id="{6F08003B-A4A4-491E-BB84-C2A924ECF1F0}"/>
                </a:ext>
              </a:extLst>
            </p:cNvPr>
            <p:cNvSpPr>
              <a:spLocks/>
            </p:cNvSpPr>
            <p:nvPr/>
          </p:nvSpPr>
          <p:spPr bwMode="gray">
            <a:xfrm>
              <a:off x="2466097" y="1426215"/>
              <a:ext cx="636343" cy="401490"/>
            </a:xfrm>
            <a:custGeom>
              <a:avLst/>
              <a:gdLst>
                <a:gd name="T0" fmla="*/ 0 w 1305"/>
                <a:gd name="T1" fmla="*/ 757 h 823"/>
                <a:gd name="T2" fmla="*/ 67 w 1305"/>
                <a:gd name="T3" fmla="*/ 0 h 823"/>
                <a:gd name="T4" fmla="*/ 710 w 1305"/>
                <a:gd name="T5" fmla="*/ 45 h 823"/>
                <a:gd name="T6" fmla="*/ 1204 w 1305"/>
                <a:gd name="T7" fmla="*/ 61 h 823"/>
                <a:gd name="T8" fmla="*/ 1213 w 1305"/>
                <a:gd name="T9" fmla="*/ 267 h 823"/>
                <a:gd name="T10" fmla="*/ 1263 w 1305"/>
                <a:gd name="T11" fmla="*/ 434 h 823"/>
                <a:gd name="T12" fmla="*/ 1270 w 1305"/>
                <a:gd name="T13" fmla="*/ 650 h 823"/>
                <a:gd name="T14" fmla="*/ 1305 w 1305"/>
                <a:gd name="T15" fmla="*/ 823 h 823"/>
                <a:gd name="T16" fmla="*/ 618 w 1305"/>
                <a:gd name="T17" fmla="*/ 802 h 823"/>
                <a:gd name="T18" fmla="*/ 0 w 1305"/>
                <a:gd name="T19" fmla="*/ 757 h 8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5"/>
                <a:gd name="T31" fmla="*/ 0 h 823"/>
                <a:gd name="T32" fmla="*/ 1305 w 1305"/>
                <a:gd name="T33" fmla="*/ 823 h 8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5" h="823">
                  <a:moveTo>
                    <a:pt x="0" y="757"/>
                  </a:moveTo>
                  <a:lnTo>
                    <a:pt x="67" y="0"/>
                  </a:lnTo>
                  <a:lnTo>
                    <a:pt x="710" y="45"/>
                  </a:lnTo>
                  <a:lnTo>
                    <a:pt x="1204" y="61"/>
                  </a:lnTo>
                  <a:lnTo>
                    <a:pt x="1213" y="267"/>
                  </a:lnTo>
                  <a:lnTo>
                    <a:pt x="1263" y="434"/>
                  </a:lnTo>
                  <a:lnTo>
                    <a:pt x="1270" y="650"/>
                  </a:lnTo>
                  <a:lnTo>
                    <a:pt x="1305" y="823"/>
                  </a:lnTo>
                  <a:lnTo>
                    <a:pt x="618" y="802"/>
                  </a:lnTo>
                  <a:lnTo>
                    <a:pt x="0" y="75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8" name="Freeform 75">
              <a:extLst>
                <a:ext uri="{FF2B5EF4-FFF2-40B4-BE49-F238E27FC236}">
                  <a16:creationId xmlns:a16="http://schemas.microsoft.com/office/drawing/2014/main" id="{CE0E088C-1514-44CC-91FB-74D3CFDA8D97}"/>
                </a:ext>
              </a:extLst>
            </p:cNvPr>
            <p:cNvSpPr>
              <a:spLocks/>
            </p:cNvSpPr>
            <p:nvPr/>
          </p:nvSpPr>
          <p:spPr bwMode="gray">
            <a:xfrm>
              <a:off x="4158788" y="2207757"/>
              <a:ext cx="405388" cy="457036"/>
            </a:xfrm>
            <a:custGeom>
              <a:avLst/>
              <a:gdLst>
                <a:gd name="T0" fmla="*/ 0 w 830"/>
                <a:gd name="T1" fmla="*/ 170 h 938"/>
                <a:gd name="T2" fmla="*/ 70 w 830"/>
                <a:gd name="T3" fmla="*/ 821 h 938"/>
                <a:gd name="T4" fmla="*/ 130 w 830"/>
                <a:gd name="T5" fmla="*/ 818 h 938"/>
                <a:gd name="T6" fmla="*/ 170 w 830"/>
                <a:gd name="T7" fmla="*/ 832 h 938"/>
                <a:gd name="T8" fmla="*/ 191 w 830"/>
                <a:gd name="T9" fmla="*/ 875 h 938"/>
                <a:gd name="T10" fmla="*/ 256 w 830"/>
                <a:gd name="T11" fmla="*/ 886 h 938"/>
                <a:gd name="T12" fmla="*/ 296 w 830"/>
                <a:gd name="T13" fmla="*/ 909 h 938"/>
                <a:gd name="T14" fmla="*/ 385 w 830"/>
                <a:gd name="T15" fmla="*/ 904 h 938"/>
                <a:gd name="T16" fmla="*/ 428 w 830"/>
                <a:gd name="T17" fmla="*/ 875 h 938"/>
                <a:gd name="T18" fmla="*/ 523 w 830"/>
                <a:gd name="T19" fmla="*/ 938 h 938"/>
                <a:gd name="T20" fmla="*/ 586 w 830"/>
                <a:gd name="T21" fmla="*/ 885 h 938"/>
                <a:gd name="T22" fmla="*/ 597 w 830"/>
                <a:gd name="T23" fmla="*/ 783 h 938"/>
                <a:gd name="T24" fmla="*/ 637 w 830"/>
                <a:gd name="T25" fmla="*/ 805 h 938"/>
                <a:gd name="T26" fmla="*/ 656 w 830"/>
                <a:gd name="T27" fmla="*/ 717 h 938"/>
                <a:gd name="T28" fmla="*/ 761 w 830"/>
                <a:gd name="T29" fmla="*/ 640 h 938"/>
                <a:gd name="T30" fmla="*/ 795 w 830"/>
                <a:gd name="T31" fmla="*/ 595 h 938"/>
                <a:gd name="T32" fmla="*/ 820 w 830"/>
                <a:gd name="T33" fmla="*/ 390 h 938"/>
                <a:gd name="T34" fmla="*/ 803 w 830"/>
                <a:gd name="T35" fmla="*/ 347 h 938"/>
                <a:gd name="T36" fmla="*/ 830 w 830"/>
                <a:gd name="T37" fmla="*/ 327 h 938"/>
                <a:gd name="T38" fmla="*/ 776 w 830"/>
                <a:gd name="T39" fmla="*/ 0 h 938"/>
                <a:gd name="T40" fmla="*/ 693 w 830"/>
                <a:gd name="T41" fmla="*/ 40 h 938"/>
                <a:gd name="T42" fmla="*/ 637 w 830"/>
                <a:gd name="T43" fmla="*/ 73 h 938"/>
                <a:gd name="T44" fmla="*/ 613 w 830"/>
                <a:gd name="T45" fmla="*/ 107 h 938"/>
                <a:gd name="T46" fmla="*/ 565 w 830"/>
                <a:gd name="T47" fmla="*/ 151 h 938"/>
                <a:gd name="T48" fmla="*/ 513 w 830"/>
                <a:gd name="T49" fmla="*/ 156 h 938"/>
                <a:gd name="T50" fmla="*/ 461 w 830"/>
                <a:gd name="T51" fmla="*/ 182 h 938"/>
                <a:gd name="T52" fmla="*/ 435 w 830"/>
                <a:gd name="T53" fmla="*/ 196 h 938"/>
                <a:gd name="T54" fmla="*/ 400 w 830"/>
                <a:gd name="T55" fmla="*/ 177 h 938"/>
                <a:gd name="T56" fmla="*/ 353 w 830"/>
                <a:gd name="T57" fmla="*/ 198 h 938"/>
                <a:gd name="T58" fmla="*/ 345 w 830"/>
                <a:gd name="T59" fmla="*/ 189 h 938"/>
                <a:gd name="T60" fmla="*/ 390 w 830"/>
                <a:gd name="T61" fmla="*/ 164 h 938"/>
                <a:gd name="T62" fmla="*/ 387 w 830"/>
                <a:gd name="T63" fmla="*/ 162 h 938"/>
                <a:gd name="T64" fmla="*/ 365 w 830"/>
                <a:gd name="T65" fmla="*/ 155 h 938"/>
                <a:gd name="T66" fmla="*/ 348 w 830"/>
                <a:gd name="T67" fmla="*/ 171 h 938"/>
                <a:gd name="T68" fmla="*/ 273 w 830"/>
                <a:gd name="T69" fmla="*/ 137 h 938"/>
                <a:gd name="T70" fmla="*/ 242 w 830"/>
                <a:gd name="T71" fmla="*/ 151 h 938"/>
                <a:gd name="T72" fmla="*/ 248 w 830"/>
                <a:gd name="T73" fmla="*/ 131 h 938"/>
                <a:gd name="T74" fmla="*/ 0 w 830"/>
                <a:gd name="T75" fmla="*/ 170 h 93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0"/>
                <a:gd name="T115" fmla="*/ 0 h 938"/>
                <a:gd name="T116" fmla="*/ 830 w 830"/>
                <a:gd name="T117" fmla="*/ 938 h 93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0" h="938">
                  <a:moveTo>
                    <a:pt x="0" y="170"/>
                  </a:moveTo>
                  <a:lnTo>
                    <a:pt x="70" y="821"/>
                  </a:lnTo>
                  <a:lnTo>
                    <a:pt x="130" y="818"/>
                  </a:lnTo>
                  <a:lnTo>
                    <a:pt x="170" y="832"/>
                  </a:lnTo>
                  <a:lnTo>
                    <a:pt x="191" y="875"/>
                  </a:lnTo>
                  <a:lnTo>
                    <a:pt x="256" y="886"/>
                  </a:lnTo>
                  <a:lnTo>
                    <a:pt x="296" y="909"/>
                  </a:lnTo>
                  <a:lnTo>
                    <a:pt x="385" y="904"/>
                  </a:lnTo>
                  <a:lnTo>
                    <a:pt x="428" y="875"/>
                  </a:lnTo>
                  <a:lnTo>
                    <a:pt x="523" y="938"/>
                  </a:lnTo>
                  <a:lnTo>
                    <a:pt x="586" y="885"/>
                  </a:lnTo>
                  <a:lnTo>
                    <a:pt x="597" y="783"/>
                  </a:lnTo>
                  <a:lnTo>
                    <a:pt x="637" y="805"/>
                  </a:lnTo>
                  <a:lnTo>
                    <a:pt x="656" y="717"/>
                  </a:lnTo>
                  <a:lnTo>
                    <a:pt x="761" y="640"/>
                  </a:lnTo>
                  <a:lnTo>
                    <a:pt x="795" y="595"/>
                  </a:lnTo>
                  <a:lnTo>
                    <a:pt x="820" y="390"/>
                  </a:lnTo>
                  <a:lnTo>
                    <a:pt x="803" y="347"/>
                  </a:lnTo>
                  <a:lnTo>
                    <a:pt x="830" y="327"/>
                  </a:lnTo>
                  <a:lnTo>
                    <a:pt x="776" y="0"/>
                  </a:lnTo>
                  <a:lnTo>
                    <a:pt x="693" y="40"/>
                  </a:lnTo>
                  <a:lnTo>
                    <a:pt x="637" y="73"/>
                  </a:lnTo>
                  <a:lnTo>
                    <a:pt x="613" y="107"/>
                  </a:lnTo>
                  <a:lnTo>
                    <a:pt x="565" y="151"/>
                  </a:lnTo>
                  <a:lnTo>
                    <a:pt x="513" y="156"/>
                  </a:lnTo>
                  <a:lnTo>
                    <a:pt x="461" y="182"/>
                  </a:lnTo>
                  <a:lnTo>
                    <a:pt x="435" y="196"/>
                  </a:lnTo>
                  <a:lnTo>
                    <a:pt x="400" y="177"/>
                  </a:lnTo>
                  <a:lnTo>
                    <a:pt x="353" y="198"/>
                  </a:lnTo>
                  <a:lnTo>
                    <a:pt x="345" y="189"/>
                  </a:lnTo>
                  <a:lnTo>
                    <a:pt x="390" y="164"/>
                  </a:lnTo>
                  <a:lnTo>
                    <a:pt x="387" y="162"/>
                  </a:lnTo>
                  <a:lnTo>
                    <a:pt x="365" y="155"/>
                  </a:lnTo>
                  <a:lnTo>
                    <a:pt x="348" y="171"/>
                  </a:lnTo>
                  <a:lnTo>
                    <a:pt x="273" y="137"/>
                  </a:lnTo>
                  <a:lnTo>
                    <a:pt x="242" y="151"/>
                  </a:lnTo>
                  <a:lnTo>
                    <a:pt x="248" y="131"/>
                  </a:lnTo>
                  <a:lnTo>
                    <a:pt x="0" y="170"/>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9" name="Freeform 76">
              <a:extLst>
                <a:ext uri="{FF2B5EF4-FFF2-40B4-BE49-F238E27FC236}">
                  <a16:creationId xmlns:a16="http://schemas.microsoft.com/office/drawing/2014/main" id="{809F63B7-5F44-4356-8A74-37F924CA91E0}"/>
                </a:ext>
              </a:extLst>
            </p:cNvPr>
            <p:cNvSpPr>
              <a:spLocks/>
            </p:cNvSpPr>
            <p:nvPr/>
          </p:nvSpPr>
          <p:spPr bwMode="gray">
            <a:xfrm>
              <a:off x="2463174" y="2894773"/>
              <a:ext cx="834164" cy="437546"/>
            </a:xfrm>
            <a:custGeom>
              <a:avLst/>
              <a:gdLst>
                <a:gd name="T0" fmla="*/ 0 w 1712"/>
                <a:gd name="T1" fmla="*/ 131 h 896"/>
                <a:gd name="T2" fmla="*/ 11 w 1712"/>
                <a:gd name="T3" fmla="*/ 0 h 896"/>
                <a:gd name="T4" fmla="*/ 200 w 1712"/>
                <a:gd name="T5" fmla="*/ 14 h 896"/>
                <a:gd name="T6" fmla="*/ 1038 w 1712"/>
                <a:gd name="T7" fmla="*/ 54 h 896"/>
                <a:gd name="T8" fmla="*/ 1668 w 1712"/>
                <a:gd name="T9" fmla="*/ 52 h 896"/>
                <a:gd name="T10" fmla="*/ 1672 w 1712"/>
                <a:gd name="T11" fmla="*/ 182 h 896"/>
                <a:gd name="T12" fmla="*/ 1712 w 1712"/>
                <a:gd name="T13" fmla="*/ 462 h 896"/>
                <a:gd name="T14" fmla="*/ 1705 w 1712"/>
                <a:gd name="T15" fmla="*/ 896 h 896"/>
                <a:gd name="T16" fmla="*/ 1652 w 1712"/>
                <a:gd name="T17" fmla="*/ 877 h 896"/>
                <a:gd name="T18" fmla="*/ 1567 w 1712"/>
                <a:gd name="T19" fmla="*/ 820 h 896"/>
                <a:gd name="T20" fmla="*/ 1534 w 1712"/>
                <a:gd name="T21" fmla="*/ 836 h 896"/>
                <a:gd name="T22" fmla="*/ 1423 w 1712"/>
                <a:gd name="T23" fmla="*/ 847 h 896"/>
                <a:gd name="T24" fmla="*/ 1313 w 1712"/>
                <a:gd name="T25" fmla="*/ 882 h 896"/>
                <a:gd name="T26" fmla="*/ 1270 w 1712"/>
                <a:gd name="T27" fmla="*/ 841 h 896"/>
                <a:gd name="T28" fmla="*/ 1216 w 1712"/>
                <a:gd name="T29" fmla="*/ 850 h 896"/>
                <a:gd name="T30" fmla="*/ 1205 w 1712"/>
                <a:gd name="T31" fmla="*/ 821 h 896"/>
                <a:gd name="T32" fmla="*/ 1165 w 1712"/>
                <a:gd name="T33" fmla="*/ 848 h 896"/>
                <a:gd name="T34" fmla="*/ 1158 w 1712"/>
                <a:gd name="T35" fmla="*/ 883 h 896"/>
                <a:gd name="T36" fmla="*/ 1144 w 1712"/>
                <a:gd name="T37" fmla="*/ 836 h 896"/>
                <a:gd name="T38" fmla="*/ 1106 w 1712"/>
                <a:gd name="T39" fmla="*/ 861 h 896"/>
                <a:gd name="T40" fmla="*/ 1043 w 1712"/>
                <a:gd name="T41" fmla="*/ 811 h 896"/>
                <a:gd name="T42" fmla="*/ 1009 w 1712"/>
                <a:gd name="T43" fmla="*/ 848 h 896"/>
                <a:gd name="T44" fmla="*/ 986 w 1712"/>
                <a:gd name="T45" fmla="*/ 829 h 896"/>
                <a:gd name="T46" fmla="*/ 956 w 1712"/>
                <a:gd name="T47" fmla="*/ 768 h 896"/>
                <a:gd name="T48" fmla="*/ 903 w 1712"/>
                <a:gd name="T49" fmla="*/ 764 h 896"/>
                <a:gd name="T50" fmla="*/ 896 w 1712"/>
                <a:gd name="T51" fmla="*/ 783 h 896"/>
                <a:gd name="T52" fmla="*/ 858 w 1712"/>
                <a:gd name="T53" fmla="*/ 758 h 896"/>
                <a:gd name="T54" fmla="*/ 828 w 1712"/>
                <a:gd name="T55" fmla="*/ 769 h 896"/>
                <a:gd name="T56" fmla="*/ 787 w 1712"/>
                <a:gd name="T57" fmla="*/ 749 h 896"/>
                <a:gd name="T58" fmla="*/ 738 w 1712"/>
                <a:gd name="T59" fmla="*/ 744 h 896"/>
                <a:gd name="T60" fmla="*/ 740 w 1712"/>
                <a:gd name="T61" fmla="*/ 712 h 896"/>
                <a:gd name="T62" fmla="*/ 706 w 1712"/>
                <a:gd name="T63" fmla="*/ 683 h 896"/>
                <a:gd name="T64" fmla="*/ 695 w 1712"/>
                <a:gd name="T65" fmla="*/ 703 h 896"/>
                <a:gd name="T66" fmla="*/ 637 w 1712"/>
                <a:gd name="T67" fmla="*/ 700 h 896"/>
                <a:gd name="T68" fmla="*/ 578 w 1712"/>
                <a:gd name="T69" fmla="*/ 651 h 896"/>
                <a:gd name="T70" fmla="*/ 598 w 1712"/>
                <a:gd name="T71" fmla="*/ 165 h 896"/>
                <a:gd name="T72" fmla="*/ 0 w 1712"/>
                <a:gd name="T73" fmla="*/ 131 h 8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12"/>
                <a:gd name="T112" fmla="*/ 0 h 896"/>
                <a:gd name="T113" fmla="*/ 1712 w 1712"/>
                <a:gd name="T114" fmla="*/ 896 h 8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12" h="896">
                  <a:moveTo>
                    <a:pt x="0" y="131"/>
                  </a:moveTo>
                  <a:lnTo>
                    <a:pt x="11" y="0"/>
                  </a:lnTo>
                  <a:lnTo>
                    <a:pt x="200" y="14"/>
                  </a:lnTo>
                  <a:lnTo>
                    <a:pt x="1038" y="54"/>
                  </a:lnTo>
                  <a:lnTo>
                    <a:pt x="1668" y="52"/>
                  </a:lnTo>
                  <a:lnTo>
                    <a:pt x="1672" y="182"/>
                  </a:lnTo>
                  <a:lnTo>
                    <a:pt x="1712" y="462"/>
                  </a:lnTo>
                  <a:lnTo>
                    <a:pt x="1705" y="896"/>
                  </a:lnTo>
                  <a:lnTo>
                    <a:pt x="1652" y="877"/>
                  </a:lnTo>
                  <a:lnTo>
                    <a:pt x="1567" y="820"/>
                  </a:lnTo>
                  <a:lnTo>
                    <a:pt x="1534" y="836"/>
                  </a:lnTo>
                  <a:lnTo>
                    <a:pt x="1423" y="847"/>
                  </a:lnTo>
                  <a:lnTo>
                    <a:pt x="1313" y="882"/>
                  </a:lnTo>
                  <a:lnTo>
                    <a:pt x="1270" y="841"/>
                  </a:lnTo>
                  <a:lnTo>
                    <a:pt x="1216" y="850"/>
                  </a:lnTo>
                  <a:lnTo>
                    <a:pt x="1205" y="821"/>
                  </a:lnTo>
                  <a:lnTo>
                    <a:pt x="1165" y="848"/>
                  </a:lnTo>
                  <a:lnTo>
                    <a:pt x="1158" y="883"/>
                  </a:lnTo>
                  <a:lnTo>
                    <a:pt x="1144" y="836"/>
                  </a:lnTo>
                  <a:lnTo>
                    <a:pt x="1106" y="861"/>
                  </a:lnTo>
                  <a:lnTo>
                    <a:pt x="1043" y="811"/>
                  </a:lnTo>
                  <a:lnTo>
                    <a:pt x="1009" y="848"/>
                  </a:lnTo>
                  <a:lnTo>
                    <a:pt x="986" y="829"/>
                  </a:lnTo>
                  <a:lnTo>
                    <a:pt x="956" y="768"/>
                  </a:lnTo>
                  <a:lnTo>
                    <a:pt x="903" y="764"/>
                  </a:lnTo>
                  <a:lnTo>
                    <a:pt x="896" y="783"/>
                  </a:lnTo>
                  <a:lnTo>
                    <a:pt x="858" y="758"/>
                  </a:lnTo>
                  <a:lnTo>
                    <a:pt x="828" y="769"/>
                  </a:lnTo>
                  <a:lnTo>
                    <a:pt x="787" y="749"/>
                  </a:lnTo>
                  <a:lnTo>
                    <a:pt x="738" y="744"/>
                  </a:lnTo>
                  <a:lnTo>
                    <a:pt x="740" y="712"/>
                  </a:lnTo>
                  <a:lnTo>
                    <a:pt x="706" y="683"/>
                  </a:lnTo>
                  <a:lnTo>
                    <a:pt x="695" y="703"/>
                  </a:lnTo>
                  <a:lnTo>
                    <a:pt x="637" y="700"/>
                  </a:lnTo>
                  <a:lnTo>
                    <a:pt x="578" y="651"/>
                  </a:lnTo>
                  <a:lnTo>
                    <a:pt x="598" y="165"/>
                  </a:lnTo>
                  <a:lnTo>
                    <a:pt x="0" y="13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0" name="Freeform 77">
              <a:extLst>
                <a:ext uri="{FF2B5EF4-FFF2-40B4-BE49-F238E27FC236}">
                  <a16:creationId xmlns:a16="http://schemas.microsoft.com/office/drawing/2014/main" id="{94F985A7-EBFE-4EC3-AA00-599E453C658D}"/>
                </a:ext>
              </a:extLst>
            </p:cNvPr>
            <p:cNvSpPr>
              <a:spLocks/>
            </p:cNvSpPr>
            <p:nvPr/>
          </p:nvSpPr>
          <p:spPr bwMode="gray">
            <a:xfrm>
              <a:off x="644775" y="1433037"/>
              <a:ext cx="769848" cy="656807"/>
            </a:xfrm>
            <a:custGeom>
              <a:avLst/>
              <a:gdLst>
                <a:gd name="T0" fmla="*/ 0 w 1580"/>
                <a:gd name="T1" fmla="*/ 1004 h 1348"/>
                <a:gd name="T2" fmla="*/ 25 w 1580"/>
                <a:gd name="T3" fmla="*/ 761 h 1348"/>
                <a:gd name="T4" fmla="*/ 148 w 1580"/>
                <a:gd name="T5" fmla="*/ 564 h 1348"/>
                <a:gd name="T6" fmla="*/ 343 w 1580"/>
                <a:gd name="T7" fmla="*/ 0 h 1348"/>
                <a:gd name="T8" fmla="*/ 440 w 1580"/>
                <a:gd name="T9" fmla="*/ 30 h 1348"/>
                <a:gd name="T10" fmla="*/ 445 w 1580"/>
                <a:gd name="T11" fmla="*/ 55 h 1348"/>
                <a:gd name="T12" fmla="*/ 471 w 1580"/>
                <a:gd name="T13" fmla="*/ 59 h 1348"/>
                <a:gd name="T14" fmla="*/ 520 w 1580"/>
                <a:gd name="T15" fmla="*/ 156 h 1348"/>
                <a:gd name="T16" fmla="*/ 512 w 1580"/>
                <a:gd name="T17" fmla="*/ 188 h 1348"/>
                <a:gd name="T18" fmla="*/ 589 w 1580"/>
                <a:gd name="T19" fmla="*/ 254 h 1348"/>
                <a:gd name="T20" fmla="*/ 724 w 1580"/>
                <a:gd name="T21" fmla="*/ 249 h 1348"/>
                <a:gd name="T22" fmla="*/ 824 w 1580"/>
                <a:gd name="T23" fmla="*/ 294 h 1348"/>
                <a:gd name="T24" fmla="*/ 872 w 1580"/>
                <a:gd name="T25" fmla="*/ 284 h 1348"/>
                <a:gd name="T26" fmla="*/ 1175 w 1580"/>
                <a:gd name="T27" fmla="*/ 294 h 1348"/>
                <a:gd name="T28" fmla="*/ 1521 w 1580"/>
                <a:gd name="T29" fmla="*/ 375 h 1348"/>
                <a:gd name="T30" fmla="*/ 1539 w 1580"/>
                <a:gd name="T31" fmla="*/ 418 h 1348"/>
                <a:gd name="T32" fmla="*/ 1580 w 1580"/>
                <a:gd name="T33" fmla="*/ 481 h 1348"/>
                <a:gd name="T34" fmla="*/ 1525 w 1580"/>
                <a:gd name="T35" fmla="*/ 564 h 1348"/>
                <a:gd name="T36" fmla="*/ 1464 w 1580"/>
                <a:gd name="T37" fmla="*/ 660 h 1348"/>
                <a:gd name="T38" fmla="*/ 1389 w 1580"/>
                <a:gd name="T39" fmla="*/ 731 h 1348"/>
                <a:gd name="T40" fmla="*/ 1378 w 1580"/>
                <a:gd name="T41" fmla="*/ 778 h 1348"/>
                <a:gd name="T42" fmla="*/ 1421 w 1580"/>
                <a:gd name="T43" fmla="*/ 830 h 1348"/>
                <a:gd name="T44" fmla="*/ 1373 w 1580"/>
                <a:gd name="T45" fmla="*/ 939 h 1348"/>
                <a:gd name="T46" fmla="*/ 1279 w 1580"/>
                <a:gd name="T47" fmla="*/ 1348 h 1348"/>
                <a:gd name="T48" fmla="*/ 744 w 1580"/>
                <a:gd name="T49" fmla="*/ 1214 h 1348"/>
                <a:gd name="T50" fmla="*/ 0 w 1580"/>
                <a:gd name="T51" fmla="*/ 1004 h 13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80"/>
                <a:gd name="T79" fmla="*/ 0 h 1348"/>
                <a:gd name="T80" fmla="*/ 1580 w 1580"/>
                <a:gd name="T81" fmla="*/ 1348 h 13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80" h="1348">
                  <a:moveTo>
                    <a:pt x="0" y="1004"/>
                  </a:moveTo>
                  <a:lnTo>
                    <a:pt x="25" y="761"/>
                  </a:lnTo>
                  <a:lnTo>
                    <a:pt x="148" y="564"/>
                  </a:lnTo>
                  <a:lnTo>
                    <a:pt x="343" y="0"/>
                  </a:lnTo>
                  <a:lnTo>
                    <a:pt x="440" y="30"/>
                  </a:lnTo>
                  <a:lnTo>
                    <a:pt x="445" y="55"/>
                  </a:lnTo>
                  <a:lnTo>
                    <a:pt x="471" y="59"/>
                  </a:lnTo>
                  <a:lnTo>
                    <a:pt x="520" y="156"/>
                  </a:lnTo>
                  <a:lnTo>
                    <a:pt x="512" y="188"/>
                  </a:lnTo>
                  <a:lnTo>
                    <a:pt x="589" y="254"/>
                  </a:lnTo>
                  <a:lnTo>
                    <a:pt x="724" y="249"/>
                  </a:lnTo>
                  <a:lnTo>
                    <a:pt x="824" y="294"/>
                  </a:lnTo>
                  <a:lnTo>
                    <a:pt x="872" y="284"/>
                  </a:lnTo>
                  <a:lnTo>
                    <a:pt x="1175" y="294"/>
                  </a:lnTo>
                  <a:lnTo>
                    <a:pt x="1521" y="375"/>
                  </a:lnTo>
                  <a:lnTo>
                    <a:pt x="1539" y="418"/>
                  </a:lnTo>
                  <a:lnTo>
                    <a:pt x="1580" y="481"/>
                  </a:lnTo>
                  <a:lnTo>
                    <a:pt x="1525" y="564"/>
                  </a:lnTo>
                  <a:lnTo>
                    <a:pt x="1464" y="660"/>
                  </a:lnTo>
                  <a:lnTo>
                    <a:pt x="1389" y="731"/>
                  </a:lnTo>
                  <a:lnTo>
                    <a:pt x="1378" y="778"/>
                  </a:lnTo>
                  <a:lnTo>
                    <a:pt x="1421" y="830"/>
                  </a:lnTo>
                  <a:lnTo>
                    <a:pt x="1373" y="939"/>
                  </a:lnTo>
                  <a:lnTo>
                    <a:pt x="1279" y="1348"/>
                  </a:lnTo>
                  <a:lnTo>
                    <a:pt x="744" y="1214"/>
                  </a:lnTo>
                  <a:lnTo>
                    <a:pt x="0" y="1004"/>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1" name="Freeform 78">
              <a:extLst>
                <a:ext uri="{FF2B5EF4-FFF2-40B4-BE49-F238E27FC236}">
                  <a16:creationId xmlns:a16="http://schemas.microsoft.com/office/drawing/2014/main" id="{370E0BDE-F161-41F2-87F0-A0CFC1F4FCC6}"/>
                </a:ext>
              </a:extLst>
            </p:cNvPr>
            <p:cNvSpPr>
              <a:spLocks/>
            </p:cNvSpPr>
            <p:nvPr/>
          </p:nvSpPr>
          <p:spPr bwMode="gray">
            <a:xfrm>
              <a:off x="4537864" y="2118104"/>
              <a:ext cx="561307" cy="361536"/>
            </a:xfrm>
            <a:custGeom>
              <a:avLst/>
              <a:gdLst>
                <a:gd name="T0" fmla="*/ 0 w 1153"/>
                <a:gd name="T1" fmla="*/ 183 h 741"/>
                <a:gd name="T2" fmla="*/ 54 w 1153"/>
                <a:gd name="T3" fmla="*/ 510 h 741"/>
                <a:gd name="T4" fmla="*/ 92 w 1153"/>
                <a:gd name="T5" fmla="*/ 741 h 741"/>
                <a:gd name="T6" fmla="*/ 284 w 1153"/>
                <a:gd name="T7" fmla="*/ 709 h 741"/>
                <a:gd name="T8" fmla="*/ 977 w 1153"/>
                <a:gd name="T9" fmla="*/ 576 h 741"/>
                <a:gd name="T10" fmla="*/ 1006 w 1153"/>
                <a:gd name="T11" fmla="*/ 542 h 741"/>
                <a:gd name="T12" fmla="*/ 1046 w 1153"/>
                <a:gd name="T13" fmla="*/ 542 h 741"/>
                <a:gd name="T14" fmla="*/ 1091 w 1153"/>
                <a:gd name="T15" fmla="*/ 511 h 741"/>
                <a:gd name="T16" fmla="*/ 1114 w 1153"/>
                <a:gd name="T17" fmla="*/ 462 h 741"/>
                <a:gd name="T18" fmla="*/ 1153 w 1153"/>
                <a:gd name="T19" fmla="*/ 425 h 741"/>
                <a:gd name="T20" fmla="*/ 1041 w 1153"/>
                <a:gd name="T21" fmla="*/ 333 h 741"/>
                <a:gd name="T22" fmla="*/ 1038 w 1153"/>
                <a:gd name="T23" fmla="*/ 246 h 741"/>
                <a:gd name="T24" fmla="*/ 1090 w 1153"/>
                <a:gd name="T25" fmla="*/ 130 h 741"/>
                <a:gd name="T26" fmla="*/ 1015 w 1153"/>
                <a:gd name="T27" fmla="*/ 87 h 741"/>
                <a:gd name="T28" fmla="*/ 984 w 1153"/>
                <a:gd name="T29" fmla="*/ 28 h 741"/>
                <a:gd name="T30" fmla="*/ 931 w 1153"/>
                <a:gd name="T31" fmla="*/ 0 h 741"/>
                <a:gd name="T32" fmla="*/ 166 w 1153"/>
                <a:gd name="T33" fmla="*/ 146 h 741"/>
                <a:gd name="T34" fmla="*/ 128 w 1153"/>
                <a:gd name="T35" fmla="*/ 87 h 741"/>
                <a:gd name="T36" fmla="*/ 0 w 1153"/>
                <a:gd name="T37" fmla="*/ 183 h 7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3"/>
                <a:gd name="T58" fmla="*/ 0 h 741"/>
                <a:gd name="T59" fmla="*/ 1153 w 1153"/>
                <a:gd name="T60" fmla="*/ 741 h 7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3" h="741">
                  <a:moveTo>
                    <a:pt x="0" y="183"/>
                  </a:moveTo>
                  <a:lnTo>
                    <a:pt x="54" y="510"/>
                  </a:lnTo>
                  <a:lnTo>
                    <a:pt x="92" y="741"/>
                  </a:lnTo>
                  <a:lnTo>
                    <a:pt x="284" y="709"/>
                  </a:lnTo>
                  <a:lnTo>
                    <a:pt x="977" y="576"/>
                  </a:lnTo>
                  <a:lnTo>
                    <a:pt x="1006" y="542"/>
                  </a:lnTo>
                  <a:lnTo>
                    <a:pt x="1046" y="542"/>
                  </a:lnTo>
                  <a:lnTo>
                    <a:pt x="1091" y="511"/>
                  </a:lnTo>
                  <a:lnTo>
                    <a:pt x="1114" y="462"/>
                  </a:lnTo>
                  <a:lnTo>
                    <a:pt x="1153" y="425"/>
                  </a:lnTo>
                  <a:lnTo>
                    <a:pt x="1041" y="333"/>
                  </a:lnTo>
                  <a:lnTo>
                    <a:pt x="1038" y="246"/>
                  </a:lnTo>
                  <a:lnTo>
                    <a:pt x="1090" y="130"/>
                  </a:lnTo>
                  <a:lnTo>
                    <a:pt x="1015" y="87"/>
                  </a:lnTo>
                  <a:lnTo>
                    <a:pt x="984" y="28"/>
                  </a:lnTo>
                  <a:lnTo>
                    <a:pt x="931" y="0"/>
                  </a:lnTo>
                  <a:lnTo>
                    <a:pt x="166" y="146"/>
                  </a:lnTo>
                  <a:lnTo>
                    <a:pt x="128" y="87"/>
                  </a:lnTo>
                  <a:lnTo>
                    <a:pt x="0" y="183"/>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2" name="Freeform 79">
              <a:extLst>
                <a:ext uri="{FF2B5EF4-FFF2-40B4-BE49-F238E27FC236}">
                  <a16:creationId xmlns:a16="http://schemas.microsoft.com/office/drawing/2014/main" id="{6A681707-BF57-40E5-BA40-2AC0CA832196}"/>
                </a:ext>
              </a:extLst>
            </p:cNvPr>
            <p:cNvSpPr>
              <a:spLocks/>
            </p:cNvSpPr>
            <p:nvPr/>
          </p:nvSpPr>
          <p:spPr bwMode="gray">
            <a:xfrm>
              <a:off x="5307712" y="2034297"/>
              <a:ext cx="75036" cy="93551"/>
            </a:xfrm>
            <a:custGeom>
              <a:avLst/>
              <a:gdLst>
                <a:gd name="T0" fmla="*/ 0 w 154"/>
                <a:gd name="T1" fmla="*/ 19 h 192"/>
                <a:gd name="T2" fmla="*/ 33 w 154"/>
                <a:gd name="T3" fmla="*/ 183 h 192"/>
                <a:gd name="T4" fmla="*/ 39 w 154"/>
                <a:gd name="T5" fmla="*/ 192 h 192"/>
                <a:gd name="T6" fmla="*/ 97 w 154"/>
                <a:gd name="T7" fmla="*/ 159 h 192"/>
                <a:gd name="T8" fmla="*/ 89 w 154"/>
                <a:gd name="T9" fmla="*/ 109 h 192"/>
                <a:gd name="T10" fmla="*/ 99 w 154"/>
                <a:gd name="T11" fmla="*/ 85 h 192"/>
                <a:gd name="T12" fmla="*/ 115 w 154"/>
                <a:gd name="T13" fmla="*/ 102 h 192"/>
                <a:gd name="T14" fmla="*/ 121 w 154"/>
                <a:gd name="T15" fmla="*/ 137 h 192"/>
                <a:gd name="T16" fmla="*/ 132 w 154"/>
                <a:gd name="T17" fmla="*/ 135 h 192"/>
                <a:gd name="T18" fmla="*/ 154 w 154"/>
                <a:gd name="T19" fmla="*/ 102 h 192"/>
                <a:gd name="T20" fmla="*/ 132 w 154"/>
                <a:gd name="T21" fmla="*/ 61 h 192"/>
                <a:gd name="T22" fmla="*/ 98 w 154"/>
                <a:gd name="T23" fmla="*/ 55 h 192"/>
                <a:gd name="T24" fmla="*/ 76 w 154"/>
                <a:gd name="T25" fmla="*/ 5 h 192"/>
                <a:gd name="T26" fmla="*/ 53 w 154"/>
                <a:gd name="T27" fmla="*/ 0 h 192"/>
                <a:gd name="T28" fmla="*/ 0 w 154"/>
                <a:gd name="T29" fmla="*/ 19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92"/>
                <a:gd name="T47" fmla="*/ 154 w 154"/>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92">
                  <a:moveTo>
                    <a:pt x="0" y="19"/>
                  </a:moveTo>
                  <a:lnTo>
                    <a:pt x="33" y="183"/>
                  </a:lnTo>
                  <a:lnTo>
                    <a:pt x="39" y="192"/>
                  </a:lnTo>
                  <a:lnTo>
                    <a:pt x="97" y="159"/>
                  </a:lnTo>
                  <a:lnTo>
                    <a:pt x="89" y="109"/>
                  </a:lnTo>
                  <a:lnTo>
                    <a:pt x="99" y="85"/>
                  </a:lnTo>
                  <a:lnTo>
                    <a:pt x="115" y="102"/>
                  </a:lnTo>
                  <a:lnTo>
                    <a:pt x="121" y="137"/>
                  </a:lnTo>
                  <a:lnTo>
                    <a:pt x="132" y="135"/>
                  </a:lnTo>
                  <a:lnTo>
                    <a:pt x="154" y="102"/>
                  </a:lnTo>
                  <a:lnTo>
                    <a:pt x="132" y="61"/>
                  </a:lnTo>
                  <a:lnTo>
                    <a:pt x="98" y="55"/>
                  </a:lnTo>
                  <a:lnTo>
                    <a:pt x="76" y="5"/>
                  </a:lnTo>
                  <a:lnTo>
                    <a:pt x="53" y="0"/>
                  </a:lnTo>
                  <a:lnTo>
                    <a:pt x="0" y="1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3" name="Freeform 80">
              <a:extLst>
                <a:ext uri="{FF2B5EF4-FFF2-40B4-BE49-F238E27FC236}">
                  <a16:creationId xmlns:a16="http://schemas.microsoft.com/office/drawing/2014/main" id="{7DBAA042-5026-4195-9D05-6D704F40E7D2}"/>
                </a:ext>
              </a:extLst>
            </p:cNvPr>
            <p:cNvSpPr>
              <a:spLocks/>
            </p:cNvSpPr>
            <p:nvPr/>
          </p:nvSpPr>
          <p:spPr bwMode="gray">
            <a:xfrm>
              <a:off x="4398512" y="3039972"/>
              <a:ext cx="491143" cy="376153"/>
            </a:xfrm>
            <a:custGeom>
              <a:avLst/>
              <a:gdLst>
                <a:gd name="T0" fmla="*/ 0 w 1008"/>
                <a:gd name="T1" fmla="*/ 181 h 772"/>
                <a:gd name="T2" fmla="*/ 42 w 1008"/>
                <a:gd name="T3" fmla="*/ 103 h 772"/>
                <a:gd name="T4" fmla="*/ 186 w 1008"/>
                <a:gd name="T5" fmla="*/ 32 h 772"/>
                <a:gd name="T6" fmla="*/ 455 w 1008"/>
                <a:gd name="T7" fmla="*/ 0 h 772"/>
                <a:gd name="T8" fmla="*/ 566 w 1008"/>
                <a:gd name="T9" fmla="*/ 72 h 772"/>
                <a:gd name="T10" fmla="*/ 742 w 1008"/>
                <a:gd name="T11" fmla="*/ 46 h 772"/>
                <a:gd name="T12" fmla="*/ 1008 w 1008"/>
                <a:gd name="T13" fmla="*/ 238 h 772"/>
                <a:gd name="T14" fmla="*/ 931 w 1008"/>
                <a:gd name="T15" fmla="*/ 326 h 772"/>
                <a:gd name="T16" fmla="*/ 890 w 1008"/>
                <a:gd name="T17" fmla="*/ 387 h 772"/>
                <a:gd name="T18" fmla="*/ 895 w 1008"/>
                <a:gd name="T19" fmla="*/ 448 h 772"/>
                <a:gd name="T20" fmla="*/ 825 w 1008"/>
                <a:gd name="T21" fmla="*/ 506 h 772"/>
                <a:gd name="T22" fmla="*/ 771 w 1008"/>
                <a:gd name="T23" fmla="*/ 591 h 772"/>
                <a:gd name="T24" fmla="*/ 694 w 1008"/>
                <a:gd name="T25" fmla="*/ 637 h 772"/>
                <a:gd name="T26" fmla="*/ 661 w 1008"/>
                <a:gd name="T27" fmla="*/ 643 h 772"/>
                <a:gd name="T28" fmla="*/ 646 w 1008"/>
                <a:gd name="T29" fmla="*/ 699 h 772"/>
                <a:gd name="T30" fmla="*/ 602 w 1008"/>
                <a:gd name="T31" fmla="*/ 669 h 772"/>
                <a:gd name="T32" fmla="*/ 641 w 1008"/>
                <a:gd name="T33" fmla="*/ 720 h 772"/>
                <a:gd name="T34" fmla="*/ 604 w 1008"/>
                <a:gd name="T35" fmla="*/ 772 h 772"/>
                <a:gd name="T36" fmla="*/ 567 w 1008"/>
                <a:gd name="T37" fmla="*/ 765 h 772"/>
                <a:gd name="T38" fmla="*/ 543 w 1008"/>
                <a:gd name="T39" fmla="*/ 734 h 772"/>
                <a:gd name="T40" fmla="*/ 500 w 1008"/>
                <a:gd name="T41" fmla="*/ 657 h 772"/>
                <a:gd name="T42" fmla="*/ 476 w 1008"/>
                <a:gd name="T43" fmla="*/ 647 h 772"/>
                <a:gd name="T44" fmla="*/ 428 w 1008"/>
                <a:gd name="T45" fmla="*/ 545 h 772"/>
                <a:gd name="T46" fmla="*/ 358 w 1008"/>
                <a:gd name="T47" fmla="*/ 502 h 772"/>
                <a:gd name="T48" fmla="*/ 309 w 1008"/>
                <a:gd name="T49" fmla="*/ 433 h 772"/>
                <a:gd name="T50" fmla="*/ 188 w 1008"/>
                <a:gd name="T51" fmla="*/ 345 h 772"/>
                <a:gd name="T52" fmla="*/ 130 w 1008"/>
                <a:gd name="T53" fmla="*/ 266 h 772"/>
                <a:gd name="T54" fmla="*/ 0 w 1008"/>
                <a:gd name="T55" fmla="*/ 181 h 7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8"/>
                <a:gd name="T85" fmla="*/ 0 h 772"/>
                <a:gd name="T86" fmla="*/ 1008 w 1008"/>
                <a:gd name="T87" fmla="*/ 772 h 7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8" h="772">
                  <a:moveTo>
                    <a:pt x="0" y="181"/>
                  </a:moveTo>
                  <a:lnTo>
                    <a:pt x="42" y="103"/>
                  </a:lnTo>
                  <a:lnTo>
                    <a:pt x="186" y="32"/>
                  </a:lnTo>
                  <a:lnTo>
                    <a:pt x="455" y="0"/>
                  </a:lnTo>
                  <a:lnTo>
                    <a:pt x="566" y="72"/>
                  </a:lnTo>
                  <a:lnTo>
                    <a:pt x="742" y="46"/>
                  </a:lnTo>
                  <a:lnTo>
                    <a:pt x="1008" y="238"/>
                  </a:lnTo>
                  <a:lnTo>
                    <a:pt x="931" y="326"/>
                  </a:lnTo>
                  <a:lnTo>
                    <a:pt x="890" y="387"/>
                  </a:lnTo>
                  <a:lnTo>
                    <a:pt x="895" y="448"/>
                  </a:lnTo>
                  <a:lnTo>
                    <a:pt x="825" y="506"/>
                  </a:lnTo>
                  <a:lnTo>
                    <a:pt x="771" y="591"/>
                  </a:lnTo>
                  <a:lnTo>
                    <a:pt x="694" y="637"/>
                  </a:lnTo>
                  <a:lnTo>
                    <a:pt x="661" y="643"/>
                  </a:lnTo>
                  <a:lnTo>
                    <a:pt x="646" y="699"/>
                  </a:lnTo>
                  <a:lnTo>
                    <a:pt x="602" y="669"/>
                  </a:lnTo>
                  <a:lnTo>
                    <a:pt x="641" y="720"/>
                  </a:lnTo>
                  <a:lnTo>
                    <a:pt x="604" y="772"/>
                  </a:lnTo>
                  <a:lnTo>
                    <a:pt x="567" y="765"/>
                  </a:lnTo>
                  <a:lnTo>
                    <a:pt x="543" y="734"/>
                  </a:lnTo>
                  <a:lnTo>
                    <a:pt x="500" y="657"/>
                  </a:lnTo>
                  <a:lnTo>
                    <a:pt x="476" y="647"/>
                  </a:lnTo>
                  <a:lnTo>
                    <a:pt x="428" y="545"/>
                  </a:lnTo>
                  <a:lnTo>
                    <a:pt x="358" y="502"/>
                  </a:lnTo>
                  <a:lnTo>
                    <a:pt x="309" y="433"/>
                  </a:lnTo>
                  <a:lnTo>
                    <a:pt x="188" y="345"/>
                  </a:lnTo>
                  <a:lnTo>
                    <a:pt x="130" y="266"/>
                  </a:lnTo>
                  <a:lnTo>
                    <a:pt x="0" y="18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4" name="Freeform 81">
              <a:extLst>
                <a:ext uri="{FF2B5EF4-FFF2-40B4-BE49-F238E27FC236}">
                  <a16:creationId xmlns:a16="http://schemas.microsoft.com/office/drawing/2014/main" id="{CC021865-F5CF-4CE7-B409-F0E52D87A788}"/>
                </a:ext>
              </a:extLst>
            </p:cNvPr>
            <p:cNvSpPr>
              <a:spLocks/>
            </p:cNvSpPr>
            <p:nvPr/>
          </p:nvSpPr>
          <p:spPr bwMode="gray">
            <a:xfrm>
              <a:off x="2432965" y="1795548"/>
              <a:ext cx="679220" cy="456062"/>
            </a:xfrm>
            <a:custGeom>
              <a:avLst/>
              <a:gdLst>
                <a:gd name="T0" fmla="*/ 0 w 1395"/>
                <a:gd name="T1" fmla="*/ 733 h 936"/>
                <a:gd name="T2" fmla="*/ 46 w 1395"/>
                <a:gd name="T3" fmla="*/ 233 h 936"/>
                <a:gd name="T4" fmla="*/ 69 w 1395"/>
                <a:gd name="T5" fmla="*/ 0 h 936"/>
                <a:gd name="T6" fmla="*/ 687 w 1395"/>
                <a:gd name="T7" fmla="*/ 45 h 936"/>
                <a:gd name="T8" fmla="*/ 1374 w 1395"/>
                <a:gd name="T9" fmla="*/ 66 h 936"/>
                <a:gd name="T10" fmla="*/ 1328 w 1395"/>
                <a:gd name="T11" fmla="*/ 155 h 936"/>
                <a:gd name="T12" fmla="*/ 1395 w 1395"/>
                <a:gd name="T13" fmla="*/ 220 h 936"/>
                <a:gd name="T14" fmla="*/ 1391 w 1395"/>
                <a:gd name="T15" fmla="*/ 679 h 936"/>
                <a:gd name="T16" fmla="*/ 1364 w 1395"/>
                <a:gd name="T17" fmla="*/ 677 h 936"/>
                <a:gd name="T18" fmla="*/ 1367 w 1395"/>
                <a:gd name="T19" fmla="*/ 738 h 936"/>
                <a:gd name="T20" fmla="*/ 1389 w 1395"/>
                <a:gd name="T21" fmla="*/ 783 h 936"/>
                <a:gd name="T22" fmla="*/ 1374 w 1395"/>
                <a:gd name="T23" fmla="*/ 827 h 936"/>
                <a:gd name="T24" fmla="*/ 1387 w 1395"/>
                <a:gd name="T25" fmla="*/ 936 h 936"/>
                <a:gd name="T26" fmla="*/ 1357 w 1395"/>
                <a:gd name="T27" fmla="*/ 926 h 936"/>
                <a:gd name="T28" fmla="*/ 1322 w 1395"/>
                <a:gd name="T29" fmla="*/ 884 h 936"/>
                <a:gd name="T30" fmla="*/ 1255 w 1395"/>
                <a:gd name="T31" fmla="*/ 854 h 936"/>
                <a:gd name="T32" fmla="*/ 1198 w 1395"/>
                <a:gd name="T33" fmla="*/ 841 h 936"/>
                <a:gd name="T34" fmla="*/ 1078 w 1395"/>
                <a:gd name="T35" fmla="*/ 846 h 936"/>
                <a:gd name="T36" fmla="*/ 1009 w 1395"/>
                <a:gd name="T37" fmla="*/ 795 h 936"/>
                <a:gd name="T38" fmla="*/ 0 w 1395"/>
                <a:gd name="T39" fmla="*/ 733 h 9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5"/>
                <a:gd name="T61" fmla="*/ 0 h 936"/>
                <a:gd name="T62" fmla="*/ 1395 w 1395"/>
                <a:gd name="T63" fmla="*/ 936 h 9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5" h="936">
                  <a:moveTo>
                    <a:pt x="0" y="733"/>
                  </a:moveTo>
                  <a:lnTo>
                    <a:pt x="46" y="233"/>
                  </a:lnTo>
                  <a:lnTo>
                    <a:pt x="69" y="0"/>
                  </a:lnTo>
                  <a:lnTo>
                    <a:pt x="687" y="45"/>
                  </a:lnTo>
                  <a:lnTo>
                    <a:pt x="1374" y="66"/>
                  </a:lnTo>
                  <a:lnTo>
                    <a:pt x="1328" y="155"/>
                  </a:lnTo>
                  <a:lnTo>
                    <a:pt x="1395" y="220"/>
                  </a:lnTo>
                  <a:lnTo>
                    <a:pt x="1391" y="679"/>
                  </a:lnTo>
                  <a:lnTo>
                    <a:pt x="1364" y="677"/>
                  </a:lnTo>
                  <a:lnTo>
                    <a:pt x="1367" y="738"/>
                  </a:lnTo>
                  <a:lnTo>
                    <a:pt x="1389" y="783"/>
                  </a:lnTo>
                  <a:lnTo>
                    <a:pt x="1374" y="827"/>
                  </a:lnTo>
                  <a:lnTo>
                    <a:pt x="1387" y="936"/>
                  </a:lnTo>
                  <a:lnTo>
                    <a:pt x="1357" y="926"/>
                  </a:lnTo>
                  <a:lnTo>
                    <a:pt x="1322" y="884"/>
                  </a:lnTo>
                  <a:lnTo>
                    <a:pt x="1255" y="854"/>
                  </a:lnTo>
                  <a:lnTo>
                    <a:pt x="1198" y="841"/>
                  </a:lnTo>
                  <a:lnTo>
                    <a:pt x="1078" y="846"/>
                  </a:lnTo>
                  <a:lnTo>
                    <a:pt x="1009" y="795"/>
                  </a:lnTo>
                  <a:lnTo>
                    <a:pt x="0" y="733"/>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5" name="Freeform 82">
              <a:extLst>
                <a:ext uri="{FF2B5EF4-FFF2-40B4-BE49-F238E27FC236}">
                  <a16:creationId xmlns:a16="http://schemas.microsoft.com/office/drawing/2014/main" id="{7036BD43-00C2-46B8-BA58-3A6DCC088197}"/>
                </a:ext>
              </a:extLst>
            </p:cNvPr>
            <p:cNvSpPr>
              <a:spLocks/>
            </p:cNvSpPr>
            <p:nvPr/>
          </p:nvSpPr>
          <p:spPr bwMode="gray">
            <a:xfrm>
              <a:off x="3710522" y="2875283"/>
              <a:ext cx="823444" cy="279678"/>
            </a:xfrm>
            <a:custGeom>
              <a:avLst/>
              <a:gdLst>
                <a:gd name="T0" fmla="*/ 0 w 1691"/>
                <a:gd name="T1" fmla="*/ 575 h 575"/>
                <a:gd name="T2" fmla="*/ 30 w 1691"/>
                <a:gd name="T3" fmla="*/ 473 h 575"/>
                <a:gd name="T4" fmla="*/ 18 w 1691"/>
                <a:gd name="T5" fmla="*/ 465 h 575"/>
                <a:gd name="T6" fmla="*/ 69 w 1691"/>
                <a:gd name="T7" fmla="*/ 426 h 575"/>
                <a:gd name="T8" fmla="*/ 114 w 1691"/>
                <a:gd name="T9" fmla="*/ 335 h 575"/>
                <a:gd name="T10" fmla="*/ 98 w 1691"/>
                <a:gd name="T11" fmla="*/ 315 h 575"/>
                <a:gd name="T12" fmla="*/ 121 w 1691"/>
                <a:gd name="T13" fmla="*/ 272 h 575"/>
                <a:gd name="T14" fmla="*/ 124 w 1691"/>
                <a:gd name="T15" fmla="*/ 223 h 575"/>
                <a:gd name="T16" fmla="*/ 154 w 1691"/>
                <a:gd name="T17" fmla="*/ 186 h 575"/>
                <a:gd name="T18" fmla="*/ 421 w 1691"/>
                <a:gd name="T19" fmla="*/ 167 h 575"/>
                <a:gd name="T20" fmla="*/ 417 w 1691"/>
                <a:gd name="T21" fmla="*/ 123 h 575"/>
                <a:gd name="T22" fmla="*/ 502 w 1691"/>
                <a:gd name="T23" fmla="*/ 127 h 575"/>
                <a:gd name="T24" fmla="*/ 1295 w 1691"/>
                <a:gd name="T25" fmla="*/ 54 h 575"/>
                <a:gd name="T26" fmla="*/ 1691 w 1691"/>
                <a:gd name="T27" fmla="*/ 0 h 575"/>
                <a:gd name="T28" fmla="*/ 1683 w 1691"/>
                <a:gd name="T29" fmla="*/ 56 h 575"/>
                <a:gd name="T30" fmla="*/ 1656 w 1691"/>
                <a:gd name="T31" fmla="*/ 74 h 575"/>
                <a:gd name="T32" fmla="*/ 1621 w 1691"/>
                <a:gd name="T33" fmla="*/ 136 h 575"/>
                <a:gd name="T34" fmla="*/ 1594 w 1691"/>
                <a:gd name="T35" fmla="*/ 132 h 575"/>
                <a:gd name="T36" fmla="*/ 1563 w 1691"/>
                <a:gd name="T37" fmla="*/ 149 h 575"/>
                <a:gd name="T38" fmla="*/ 1542 w 1691"/>
                <a:gd name="T39" fmla="*/ 180 h 575"/>
                <a:gd name="T40" fmla="*/ 1513 w 1691"/>
                <a:gd name="T41" fmla="*/ 160 h 575"/>
                <a:gd name="T42" fmla="*/ 1468 w 1691"/>
                <a:gd name="T43" fmla="*/ 199 h 575"/>
                <a:gd name="T44" fmla="*/ 1462 w 1691"/>
                <a:gd name="T45" fmla="*/ 232 h 575"/>
                <a:gd name="T46" fmla="*/ 1270 w 1691"/>
                <a:gd name="T47" fmla="*/ 345 h 575"/>
                <a:gd name="T48" fmla="*/ 1259 w 1691"/>
                <a:gd name="T49" fmla="*/ 389 h 575"/>
                <a:gd name="T50" fmla="*/ 1208 w 1691"/>
                <a:gd name="T51" fmla="*/ 414 h 575"/>
                <a:gd name="T52" fmla="*/ 1209 w 1691"/>
                <a:gd name="T53" fmla="*/ 471 h 575"/>
                <a:gd name="T54" fmla="*/ 949 w 1691"/>
                <a:gd name="T55" fmla="*/ 504 h 575"/>
                <a:gd name="T56" fmla="*/ 424 w 1691"/>
                <a:gd name="T57" fmla="*/ 547 h 575"/>
                <a:gd name="T58" fmla="*/ 0 w 1691"/>
                <a:gd name="T59" fmla="*/ 575 h 5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91"/>
                <a:gd name="T91" fmla="*/ 0 h 575"/>
                <a:gd name="T92" fmla="*/ 1691 w 1691"/>
                <a:gd name="T93" fmla="*/ 575 h 5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91" h="575">
                  <a:moveTo>
                    <a:pt x="0" y="575"/>
                  </a:moveTo>
                  <a:lnTo>
                    <a:pt x="30" y="473"/>
                  </a:lnTo>
                  <a:lnTo>
                    <a:pt x="18" y="465"/>
                  </a:lnTo>
                  <a:lnTo>
                    <a:pt x="69" y="426"/>
                  </a:lnTo>
                  <a:lnTo>
                    <a:pt x="114" y="335"/>
                  </a:lnTo>
                  <a:lnTo>
                    <a:pt x="98" y="315"/>
                  </a:lnTo>
                  <a:lnTo>
                    <a:pt x="121" y="272"/>
                  </a:lnTo>
                  <a:lnTo>
                    <a:pt x="124" y="223"/>
                  </a:lnTo>
                  <a:lnTo>
                    <a:pt x="154" y="186"/>
                  </a:lnTo>
                  <a:lnTo>
                    <a:pt x="421" y="167"/>
                  </a:lnTo>
                  <a:lnTo>
                    <a:pt x="417" y="123"/>
                  </a:lnTo>
                  <a:lnTo>
                    <a:pt x="502" y="127"/>
                  </a:lnTo>
                  <a:lnTo>
                    <a:pt x="1295" y="54"/>
                  </a:lnTo>
                  <a:lnTo>
                    <a:pt x="1691" y="0"/>
                  </a:lnTo>
                  <a:lnTo>
                    <a:pt x="1683" y="56"/>
                  </a:lnTo>
                  <a:lnTo>
                    <a:pt x="1656" y="74"/>
                  </a:lnTo>
                  <a:lnTo>
                    <a:pt x="1621" y="136"/>
                  </a:lnTo>
                  <a:lnTo>
                    <a:pt x="1594" y="132"/>
                  </a:lnTo>
                  <a:lnTo>
                    <a:pt x="1563" y="149"/>
                  </a:lnTo>
                  <a:lnTo>
                    <a:pt x="1542" y="180"/>
                  </a:lnTo>
                  <a:lnTo>
                    <a:pt x="1513" y="160"/>
                  </a:lnTo>
                  <a:lnTo>
                    <a:pt x="1468" y="199"/>
                  </a:lnTo>
                  <a:lnTo>
                    <a:pt x="1462" y="232"/>
                  </a:lnTo>
                  <a:lnTo>
                    <a:pt x="1270" y="345"/>
                  </a:lnTo>
                  <a:lnTo>
                    <a:pt x="1259" y="389"/>
                  </a:lnTo>
                  <a:lnTo>
                    <a:pt x="1208" y="414"/>
                  </a:lnTo>
                  <a:lnTo>
                    <a:pt x="1209" y="471"/>
                  </a:lnTo>
                  <a:lnTo>
                    <a:pt x="949" y="504"/>
                  </a:lnTo>
                  <a:lnTo>
                    <a:pt x="424" y="547"/>
                  </a:lnTo>
                  <a:lnTo>
                    <a:pt x="0" y="575"/>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6" name="Freeform 83">
              <a:extLst>
                <a:ext uri="{FF2B5EF4-FFF2-40B4-BE49-F238E27FC236}">
                  <a16:creationId xmlns:a16="http://schemas.microsoft.com/office/drawing/2014/main" id="{83CEF8E5-96B0-4C1B-9700-EB414D942D5F}"/>
                </a:ext>
              </a:extLst>
            </p:cNvPr>
            <p:cNvSpPr>
              <a:spLocks/>
            </p:cNvSpPr>
            <p:nvPr/>
          </p:nvSpPr>
          <p:spPr bwMode="gray">
            <a:xfrm>
              <a:off x="2046092" y="2950318"/>
              <a:ext cx="1349669" cy="1310690"/>
            </a:xfrm>
            <a:custGeom>
              <a:avLst/>
              <a:gdLst>
                <a:gd name="T0" fmla="*/ 55 w 2771"/>
                <a:gd name="T1" fmla="*/ 1056 h 2690"/>
                <a:gd name="T2" fmla="*/ 1455 w 2771"/>
                <a:gd name="T3" fmla="*/ 34 h 2690"/>
                <a:gd name="T4" fmla="*/ 1552 w 2771"/>
                <a:gd name="T5" fmla="*/ 572 h 2690"/>
                <a:gd name="T6" fmla="*/ 1595 w 2771"/>
                <a:gd name="T7" fmla="*/ 613 h 2690"/>
                <a:gd name="T8" fmla="*/ 1715 w 2771"/>
                <a:gd name="T9" fmla="*/ 627 h 2690"/>
                <a:gd name="T10" fmla="*/ 1813 w 2771"/>
                <a:gd name="T11" fmla="*/ 637 h 2690"/>
                <a:gd name="T12" fmla="*/ 1900 w 2771"/>
                <a:gd name="T13" fmla="*/ 680 h 2690"/>
                <a:gd name="T14" fmla="*/ 2015 w 2771"/>
                <a:gd name="T15" fmla="*/ 752 h 2690"/>
                <a:gd name="T16" fmla="*/ 2073 w 2771"/>
                <a:gd name="T17" fmla="*/ 719 h 2690"/>
                <a:gd name="T18" fmla="*/ 2280 w 2771"/>
                <a:gd name="T19" fmla="*/ 716 h 2690"/>
                <a:gd name="T20" fmla="*/ 2509 w 2771"/>
                <a:gd name="T21" fmla="*/ 746 h 2690"/>
                <a:gd name="T22" fmla="*/ 2653 w 2771"/>
                <a:gd name="T23" fmla="*/ 788 h 2690"/>
                <a:gd name="T24" fmla="*/ 2699 w 2771"/>
                <a:gd name="T25" fmla="*/ 1219 h 2690"/>
                <a:gd name="T26" fmla="*/ 2769 w 2771"/>
                <a:gd name="T27" fmla="*/ 1460 h 2690"/>
                <a:gd name="T28" fmla="*/ 2747 w 2771"/>
                <a:gd name="T29" fmla="*/ 1621 h 2690"/>
                <a:gd name="T30" fmla="*/ 2694 w 2771"/>
                <a:gd name="T31" fmla="*/ 1726 h 2690"/>
                <a:gd name="T32" fmla="*/ 2513 w 2771"/>
                <a:gd name="T33" fmla="*/ 1835 h 2690"/>
                <a:gd name="T34" fmla="*/ 2526 w 2771"/>
                <a:gd name="T35" fmla="*/ 1724 h 2690"/>
                <a:gd name="T36" fmla="*/ 2458 w 2771"/>
                <a:gd name="T37" fmla="*/ 1796 h 2690"/>
                <a:gd name="T38" fmla="*/ 2446 w 2771"/>
                <a:gd name="T39" fmla="*/ 1878 h 2690"/>
                <a:gd name="T40" fmla="*/ 2163 w 2771"/>
                <a:gd name="T41" fmla="*/ 2080 h 2690"/>
                <a:gd name="T42" fmla="*/ 2192 w 2771"/>
                <a:gd name="T43" fmla="*/ 2037 h 2690"/>
                <a:gd name="T44" fmla="*/ 2147 w 2771"/>
                <a:gd name="T45" fmla="*/ 2001 h 2690"/>
                <a:gd name="T46" fmla="*/ 2099 w 2771"/>
                <a:gd name="T47" fmla="*/ 2035 h 2690"/>
                <a:gd name="T48" fmla="*/ 2067 w 2771"/>
                <a:gd name="T49" fmla="*/ 2057 h 2690"/>
                <a:gd name="T50" fmla="*/ 1975 w 2771"/>
                <a:gd name="T51" fmla="*/ 2135 h 2690"/>
                <a:gd name="T52" fmla="*/ 1898 w 2771"/>
                <a:gd name="T53" fmla="*/ 2213 h 2690"/>
                <a:gd name="T54" fmla="*/ 1952 w 2771"/>
                <a:gd name="T55" fmla="*/ 2256 h 2690"/>
                <a:gd name="T56" fmla="*/ 1904 w 2771"/>
                <a:gd name="T57" fmla="*/ 2323 h 2690"/>
                <a:gd name="T58" fmla="*/ 1848 w 2771"/>
                <a:gd name="T59" fmla="*/ 2357 h 2690"/>
                <a:gd name="T60" fmla="*/ 1912 w 2771"/>
                <a:gd name="T61" fmla="*/ 2571 h 2690"/>
                <a:gd name="T62" fmla="*/ 1816 w 2771"/>
                <a:gd name="T63" fmla="*/ 2655 h 2690"/>
                <a:gd name="T64" fmla="*/ 1540 w 2771"/>
                <a:gd name="T65" fmla="*/ 2562 h 2690"/>
                <a:gd name="T66" fmla="*/ 1467 w 2771"/>
                <a:gd name="T67" fmla="*/ 2405 h 2690"/>
                <a:gd name="T68" fmla="*/ 1451 w 2771"/>
                <a:gd name="T69" fmla="*/ 2267 h 2690"/>
                <a:gd name="T70" fmla="*/ 1194 w 2771"/>
                <a:gd name="T71" fmla="*/ 1840 h 2690"/>
                <a:gd name="T72" fmla="*/ 995 w 2771"/>
                <a:gd name="T73" fmla="*/ 1699 h 2690"/>
                <a:gd name="T74" fmla="*/ 855 w 2771"/>
                <a:gd name="T75" fmla="*/ 1692 h 2690"/>
                <a:gd name="T76" fmla="*/ 681 w 2771"/>
                <a:gd name="T77" fmla="*/ 1874 h 2690"/>
                <a:gd name="T78" fmla="*/ 495 w 2771"/>
                <a:gd name="T79" fmla="*/ 1777 h 2690"/>
                <a:gd name="T80" fmla="*/ 368 w 2771"/>
                <a:gd name="T81" fmla="*/ 1537 h 2690"/>
                <a:gd name="T82" fmla="*/ 121 w 2771"/>
                <a:gd name="T83" fmla="*/ 1217 h 2690"/>
                <a:gd name="T84" fmla="*/ 16 w 2771"/>
                <a:gd name="T85" fmla="*/ 1103 h 2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71"/>
                <a:gd name="T130" fmla="*/ 0 h 2690"/>
                <a:gd name="T131" fmla="*/ 2771 w 2771"/>
                <a:gd name="T132" fmla="*/ 2690 h 2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71" h="2690">
                  <a:moveTo>
                    <a:pt x="16" y="1103"/>
                  </a:moveTo>
                  <a:lnTo>
                    <a:pt x="0" y="1051"/>
                  </a:lnTo>
                  <a:lnTo>
                    <a:pt x="55" y="1056"/>
                  </a:lnTo>
                  <a:lnTo>
                    <a:pt x="753" y="1123"/>
                  </a:lnTo>
                  <a:lnTo>
                    <a:pt x="857" y="0"/>
                  </a:lnTo>
                  <a:lnTo>
                    <a:pt x="1455" y="34"/>
                  </a:lnTo>
                  <a:lnTo>
                    <a:pt x="1435" y="520"/>
                  </a:lnTo>
                  <a:lnTo>
                    <a:pt x="1494" y="569"/>
                  </a:lnTo>
                  <a:lnTo>
                    <a:pt x="1552" y="572"/>
                  </a:lnTo>
                  <a:lnTo>
                    <a:pt x="1563" y="552"/>
                  </a:lnTo>
                  <a:lnTo>
                    <a:pt x="1597" y="581"/>
                  </a:lnTo>
                  <a:lnTo>
                    <a:pt x="1595" y="613"/>
                  </a:lnTo>
                  <a:lnTo>
                    <a:pt x="1644" y="618"/>
                  </a:lnTo>
                  <a:lnTo>
                    <a:pt x="1685" y="638"/>
                  </a:lnTo>
                  <a:lnTo>
                    <a:pt x="1715" y="627"/>
                  </a:lnTo>
                  <a:lnTo>
                    <a:pt x="1753" y="652"/>
                  </a:lnTo>
                  <a:lnTo>
                    <a:pt x="1760" y="633"/>
                  </a:lnTo>
                  <a:lnTo>
                    <a:pt x="1813" y="637"/>
                  </a:lnTo>
                  <a:lnTo>
                    <a:pt x="1843" y="698"/>
                  </a:lnTo>
                  <a:lnTo>
                    <a:pt x="1866" y="717"/>
                  </a:lnTo>
                  <a:lnTo>
                    <a:pt x="1900" y="680"/>
                  </a:lnTo>
                  <a:lnTo>
                    <a:pt x="1963" y="730"/>
                  </a:lnTo>
                  <a:lnTo>
                    <a:pt x="2001" y="705"/>
                  </a:lnTo>
                  <a:lnTo>
                    <a:pt x="2015" y="752"/>
                  </a:lnTo>
                  <a:lnTo>
                    <a:pt x="2022" y="717"/>
                  </a:lnTo>
                  <a:lnTo>
                    <a:pt x="2062" y="690"/>
                  </a:lnTo>
                  <a:lnTo>
                    <a:pt x="2073" y="719"/>
                  </a:lnTo>
                  <a:lnTo>
                    <a:pt x="2127" y="710"/>
                  </a:lnTo>
                  <a:lnTo>
                    <a:pt x="2170" y="751"/>
                  </a:lnTo>
                  <a:lnTo>
                    <a:pt x="2280" y="716"/>
                  </a:lnTo>
                  <a:lnTo>
                    <a:pt x="2391" y="705"/>
                  </a:lnTo>
                  <a:lnTo>
                    <a:pt x="2424" y="689"/>
                  </a:lnTo>
                  <a:lnTo>
                    <a:pt x="2509" y="746"/>
                  </a:lnTo>
                  <a:lnTo>
                    <a:pt x="2562" y="765"/>
                  </a:lnTo>
                  <a:lnTo>
                    <a:pt x="2582" y="790"/>
                  </a:lnTo>
                  <a:lnTo>
                    <a:pt x="2653" y="788"/>
                  </a:lnTo>
                  <a:lnTo>
                    <a:pt x="2656" y="922"/>
                  </a:lnTo>
                  <a:lnTo>
                    <a:pt x="2669" y="1185"/>
                  </a:lnTo>
                  <a:lnTo>
                    <a:pt x="2699" y="1219"/>
                  </a:lnTo>
                  <a:lnTo>
                    <a:pt x="2711" y="1286"/>
                  </a:lnTo>
                  <a:lnTo>
                    <a:pt x="2771" y="1380"/>
                  </a:lnTo>
                  <a:lnTo>
                    <a:pt x="2769" y="1460"/>
                  </a:lnTo>
                  <a:lnTo>
                    <a:pt x="2733" y="1536"/>
                  </a:lnTo>
                  <a:lnTo>
                    <a:pt x="2736" y="1577"/>
                  </a:lnTo>
                  <a:lnTo>
                    <a:pt x="2747" y="1621"/>
                  </a:lnTo>
                  <a:lnTo>
                    <a:pt x="2742" y="1664"/>
                  </a:lnTo>
                  <a:lnTo>
                    <a:pt x="2721" y="1692"/>
                  </a:lnTo>
                  <a:lnTo>
                    <a:pt x="2694" y="1726"/>
                  </a:lnTo>
                  <a:lnTo>
                    <a:pt x="2713" y="1747"/>
                  </a:lnTo>
                  <a:lnTo>
                    <a:pt x="2602" y="1784"/>
                  </a:lnTo>
                  <a:lnTo>
                    <a:pt x="2513" y="1835"/>
                  </a:lnTo>
                  <a:lnTo>
                    <a:pt x="2567" y="1793"/>
                  </a:lnTo>
                  <a:lnTo>
                    <a:pt x="2509" y="1792"/>
                  </a:lnTo>
                  <a:lnTo>
                    <a:pt x="2526" y="1724"/>
                  </a:lnTo>
                  <a:lnTo>
                    <a:pt x="2479" y="1763"/>
                  </a:lnTo>
                  <a:lnTo>
                    <a:pt x="2456" y="1750"/>
                  </a:lnTo>
                  <a:lnTo>
                    <a:pt x="2458" y="1796"/>
                  </a:lnTo>
                  <a:lnTo>
                    <a:pt x="2478" y="1804"/>
                  </a:lnTo>
                  <a:lnTo>
                    <a:pt x="2482" y="1846"/>
                  </a:lnTo>
                  <a:lnTo>
                    <a:pt x="2446" y="1878"/>
                  </a:lnTo>
                  <a:lnTo>
                    <a:pt x="2425" y="1876"/>
                  </a:lnTo>
                  <a:lnTo>
                    <a:pt x="2419" y="1923"/>
                  </a:lnTo>
                  <a:lnTo>
                    <a:pt x="2163" y="2080"/>
                  </a:lnTo>
                  <a:lnTo>
                    <a:pt x="2166" y="2064"/>
                  </a:lnTo>
                  <a:lnTo>
                    <a:pt x="2284" y="1988"/>
                  </a:lnTo>
                  <a:lnTo>
                    <a:pt x="2192" y="2037"/>
                  </a:lnTo>
                  <a:lnTo>
                    <a:pt x="2198" y="1992"/>
                  </a:lnTo>
                  <a:lnTo>
                    <a:pt x="2173" y="2014"/>
                  </a:lnTo>
                  <a:lnTo>
                    <a:pt x="2147" y="2001"/>
                  </a:lnTo>
                  <a:lnTo>
                    <a:pt x="2137" y="2037"/>
                  </a:lnTo>
                  <a:lnTo>
                    <a:pt x="2096" y="2001"/>
                  </a:lnTo>
                  <a:lnTo>
                    <a:pt x="2099" y="2035"/>
                  </a:lnTo>
                  <a:lnTo>
                    <a:pt x="2147" y="2066"/>
                  </a:lnTo>
                  <a:lnTo>
                    <a:pt x="2092" y="2098"/>
                  </a:lnTo>
                  <a:lnTo>
                    <a:pt x="2067" y="2057"/>
                  </a:lnTo>
                  <a:lnTo>
                    <a:pt x="2048" y="2159"/>
                  </a:lnTo>
                  <a:lnTo>
                    <a:pt x="2024" y="2118"/>
                  </a:lnTo>
                  <a:lnTo>
                    <a:pt x="1975" y="2135"/>
                  </a:lnTo>
                  <a:lnTo>
                    <a:pt x="1965" y="2161"/>
                  </a:lnTo>
                  <a:lnTo>
                    <a:pt x="1989" y="2207"/>
                  </a:lnTo>
                  <a:lnTo>
                    <a:pt x="1898" y="2213"/>
                  </a:lnTo>
                  <a:lnTo>
                    <a:pt x="1931" y="2222"/>
                  </a:lnTo>
                  <a:lnTo>
                    <a:pt x="1933" y="2267"/>
                  </a:lnTo>
                  <a:lnTo>
                    <a:pt x="1952" y="2256"/>
                  </a:lnTo>
                  <a:lnTo>
                    <a:pt x="1942" y="2288"/>
                  </a:lnTo>
                  <a:lnTo>
                    <a:pt x="1901" y="2354"/>
                  </a:lnTo>
                  <a:lnTo>
                    <a:pt x="1904" y="2323"/>
                  </a:lnTo>
                  <a:lnTo>
                    <a:pt x="1877" y="2351"/>
                  </a:lnTo>
                  <a:lnTo>
                    <a:pt x="1841" y="2310"/>
                  </a:lnTo>
                  <a:lnTo>
                    <a:pt x="1848" y="2357"/>
                  </a:lnTo>
                  <a:lnTo>
                    <a:pt x="1917" y="2364"/>
                  </a:lnTo>
                  <a:lnTo>
                    <a:pt x="1890" y="2434"/>
                  </a:lnTo>
                  <a:lnTo>
                    <a:pt x="1912" y="2571"/>
                  </a:lnTo>
                  <a:lnTo>
                    <a:pt x="1973" y="2685"/>
                  </a:lnTo>
                  <a:lnTo>
                    <a:pt x="1893" y="2690"/>
                  </a:lnTo>
                  <a:lnTo>
                    <a:pt x="1816" y="2655"/>
                  </a:lnTo>
                  <a:lnTo>
                    <a:pt x="1750" y="2656"/>
                  </a:lnTo>
                  <a:lnTo>
                    <a:pt x="1653" y="2604"/>
                  </a:lnTo>
                  <a:lnTo>
                    <a:pt x="1540" y="2562"/>
                  </a:lnTo>
                  <a:lnTo>
                    <a:pt x="1528" y="2517"/>
                  </a:lnTo>
                  <a:lnTo>
                    <a:pt x="1504" y="2453"/>
                  </a:lnTo>
                  <a:lnTo>
                    <a:pt x="1467" y="2405"/>
                  </a:lnTo>
                  <a:lnTo>
                    <a:pt x="1471" y="2354"/>
                  </a:lnTo>
                  <a:lnTo>
                    <a:pt x="1450" y="2336"/>
                  </a:lnTo>
                  <a:lnTo>
                    <a:pt x="1451" y="2267"/>
                  </a:lnTo>
                  <a:lnTo>
                    <a:pt x="1385" y="2215"/>
                  </a:lnTo>
                  <a:lnTo>
                    <a:pt x="1313" y="2109"/>
                  </a:lnTo>
                  <a:lnTo>
                    <a:pt x="1194" y="1840"/>
                  </a:lnTo>
                  <a:lnTo>
                    <a:pt x="1103" y="1771"/>
                  </a:lnTo>
                  <a:lnTo>
                    <a:pt x="1073" y="1709"/>
                  </a:lnTo>
                  <a:lnTo>
                    <a:pt x="995" y="1699"/>
                  </a:lnTo>
                  <a:lnTo>
                    <a:pt x="930" y="1692"/>
                  </a:lnTo>
                  <a:lnTo>
                    <a:pt x="873" y="1666"/>
                  </a:lnTo>
                  <a:lnTo>
                    <a:pt x="855" y="1692"/>
                  </a:lnTo>
                  <a:lnTo>
                    <a:pt x="794" y="1692"/>
                  </a:lnTo>
                  <a:lnTo>
                    <a:pt x="740" y="1819"/>
                  </a:lnTo>
                  <a:lnTo>
                    <a:pt x="681" y="1874"/>
                  </a:lnTo>
                  <a:lnTo>
                    <a:pt x="647" y="1870"/>
                  </a:lnTo>
                  <a:lnTo>
                    <a:pt x="541" y="1790"/>
                  </a:lnTo>
                  <a:lnTo>
                    <a:pt x="495" y="1777"/>
                  </a:lnTo>
                  <a:lnTo>
                    <a:pt x="394" y="1685"/>
                  </a:lnTo>
                  <a:lnTo>
                    <a:pt x="367" y="1612"/>
                  </a:lnTo>
                  <a:lnTo>
                    <a:pt x="368" y="1537"/>
                  </a:lnTo>
                  <a:lnTo>
                    <a:pt x="319" y="1431"/>
                  </a:lnTo>
                  <a:lnTo>
                    <a:pt x="235" y="1362"/>
                  </a:lnTo>
                  <a:lnTo>
                    <a:pt x="121" y="1217"/>
                  </a:lnTo>
                  <a:lnTo>
                    <a:pt x="77" y="1192"/>
                  </a:lnTo>
                  <a:lnTo>
                    <a:pt x="47" y="1116"/>
                  </a:lnTo>
                  <a:lnTo>
                    <a:pt x="16" y="1103"/>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7" name="Freeform 84">
              <a:extLst>
                <a:ext uri="{FF2B5EF4-FFF2-40B4-BE49-F238E27FC236}">
                  <a16:creationId xmlns:a16="http://schemas.microsoft.com/office/drawing/2014/main" id="{17AD5898-953C-4F6C-A408-DE9F080EEA1E}"/>
                </a:ext>
              </a:extLst>
            </p:cNvPr>
            <p:cNvSpPr>
              <a:spLocks/>
            </p:cNvSpPr>
            <p:nvPr/>
          </p:nvSpPr>
          <p:spPr bwMode="gray">
            <a:xfrm>
              <a:off x="1411699" y="2146364"/>
              <a:ext cx="545715" cy="685066"/>
            </a:xfrm>
            <a:custGeom>
              <a:avLst/>
              <a:gdLst>
                <a:gd name="T0" fmla="*/ 0 w 1119"/>
                <a:gd name="T1" fmla="*/ 1238 h 1406"/>
                <a:gd name="T2" fmla="*/ 244 w 1119"/>
                <a:gd name="T3" fmla="*/ 0 h 1406"/>
                <a:gd name="T4" fmla="*/ 790 w 1119"/>
                <a:gd name="T5" fmla="*/ 100 h 1406"/>
                <a:gd name="T6" fmla="*/ 748 w 1119"/>
                <a:gd name="T7" fmla="*/ 349 h 1406"/>
                <a:gd name="T8" fmla="*/ 1119 w 1119"/>
                <a:gd name="T9" fmla="*/ 406 h 1406"/>
                <a:gd name="T10" fmla="*/ 979 w 1119"/>
                <a:gd name="T11" fmla="*/ 1406 h 1406"/>
                <a:gd name="T12" fmla="*/ 0 w 1119"/>
                <a:gd name="T13" fmla="*/ 1238 h 1406"/>
                <a:gd name="T14" fmla="*/ 0 60000 65536"/>
                <a:gd name="T15" fmla="*/ 0 60000 65536"/>
                <a:gd name="T16" fmla="*/ 0 60000 65536"/>
                <a:gd name="T17" fmla="*/ 0 60000 65536"/>
                <a:gd name="T18" fmla="*/ 0 60000 65536"/>
                <a:gd name="T19" fmla="*/ 0 60000 65536"/>
                <a:gd name="T20" fmla="*/ 0 60000 65536"/>
                <a:gd name="T21" fmla="*/ 0 w 1119"/>
                <a:gd name="T22" fmla="*/ 0 h 1406"/>
                <a:gd name="T23" fmla="*/ 1119 w 1119"/>
                <a:gd name="T24" fmla="*/ 1406 h 14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9" h="1406">
                  <a:moveTo>
                    <a:pt x="0" y="1238"/>
                  </a:moveTo>
                  <a:lnTo>
                    <a:pt x="244" y="0"/>
                  </a:lnTo>
                  <a:lnTo>
                    <a:pt x="790" y="100"/>
                  </a:lnTo>
                  <a:lnTo>
                    <a:pt x="748" y="349"/>
                  </a:lnTo>
                  <a:lnTo>
                    <a:pt x="1119" y="406"/>
                  </a:lnTo>
                  <a:lnTo>
                    <a:pt x="979" y="1406"/>
                  </a:lnTo>
                  <a:lnTo>
                    <a:pt x="0" y="123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8" name="Freeform 85">
              <a:extLst>
                <a:ext uri="{FF2B5EF4-FFF2-40B4-BE49-F238E27FC236}">
                  <a16:creationId xmlns:a16="http://schemas.microsoft.com/office/drawing/2014/main" id="{F50DE3DF-53BC-4076-8ECB-B9BDE9DEF997}"/>
                </a:ext>
              </a:extLst>
            </p:cNvPr>
            <p:cNvSpPr>
              <a:spLocks/>
            </p:cNvSpPr>
            <p:nvPr/>
          </p:nvSpPr>
          <p:spPr bwMode="gray">
            <a:xfrm>
              <a:off x="5086503" y="1680558"/>
              <a:ext cx="154944" cy="306964"/>
            </a:xfrm>
            <a:custGeom>
              <a:avLst/>
              <a:gdLst>
                <a:gd name="T0" fmla="*/ 0 w 318"/>
                <a:gd name="T1" fmla="*/ 79 h 630"/>
                <a:gd name="T2" fmla="*/ 49 w 318"/>
                <a:gd name="T3" fmla="*/ 257 h 630"/>
                <a:gd name="T4" fmla="*/ 64 w 318"/>
                <a:gd name="T5" fmla="*/ 373 h 630"/>
                <a:gd name="T6" fmla="*/ 115 w 318"/>
                <a:gd name="T7" fmla="*/ 489 h 630"/>
                <a:gd name="T8" fmla="*/ 145 w 318"/>
                <a:gd name="T9" fmla="*/ 630 h 630"/>
                <a:gd name="T10" fmla="*/ 290 w 318"/>
                <a:gd name="T11" fmla="*/ 599 h 630"/>
                <a:gd name="T12" fmla="*/ 260 w 318"/>
                <a:gd name="T13" fmla="*/ 383 h 630"/>
                <a:gd name="T14" fmla="*/ 278 w 318"/>
                <a:gd name="T15" fmla="*/ 230 h 630"/>
                <a:gd name="T16" fmla="*/ 314 w 318"/>
                <a:gd name="T17" fmla="*/ 159 h 630"/>
                <a:gd name="T18" fmla="*/ 318 w 318"/>
                <a:gd name="T19" fmla="*/ 0 h 630"/>
                <a:gd name="T20" fmla="*/ 0 w 318"/>
                <a:gd name="T21" fmla="*/ 79 h 6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8"/>
                <a:gd name="T34" fmla="*/ 0 h 630"/>
                <a:gd name="T35" fmla="*/ 318 w 318"/>
                <a:gd name="T36" fmla="*/ 630 h 6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8" h="630">
                  <a:moveTo>
                    <a:pt x="0" y="79"/>
                  </a:moveTo>
                  <a:lnTo>
                    <a:pt x="49" y="257"/>
                  </a:lnTo>
                  <a:lnTo>
                    <a:pt x="64" y="373"/>
                  </a:lnTo>
                  <a:lnTo>
                    <a:pt x="115" y="489"/>
                  </a:lnTo>
                  <a:lnTo>
                    <a:pt x="145" y="630"/>
                  </a:lnTo>
                  <a:lnTo>
                    <a:pt x="290" y="599"/>
                  </a:lnTo>
                  <a:lnTo>
                    <a:pt x="260" y="383"/>
                  </a:lnTo>
                  <a:lnTo>
                    <a:pt x="278" y="230"/>
                  </a:lnTo>
                  <a:lnTo>
                    <a:pt x="314" y="159"/>
                  </a:lnTo>
                  <a:lnTo>
                    <a:pt x="318" y="0"/>
                  </a:lnTo>
                  <a:lnTo>
                    <a:pt x="0" y="7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nvGrpSpPr>
            <p:cNvPr id="59" name="Group 196">
              <a:extLst>
                <a:ext uri="{FF2B5EF4-FFF2-40B4-BE49-F238E27FC236}">
                  <a16:creationId xmlns:a16="http://schemas.microsoft.com/office/drawing/2014/main" id="{A572973A-9AEA-4664-BB30-197748F3F3A5}"/>
                </a:ext>
              </a:extLst>
            </p:cNvPr>
            <p:cNvGrpSpPr/>
            <p:nvPr/>
          </p:nvGrpSpPr>
          <p:grpSpPr bwMode="gray">
            <a:xfrm>
              <a:off x="4341017" y="2476716"/>
              <a:ext cx="756205" cy="424878"/>
              <a:chOff x="4341017" y="2476716"/>
              <a:chExt cx="756205" cy="424878"/>
            </a:xfrm>
            <a:grpFill/>
          </p:grpSpPr>
          <p:sp>
            <p:nvSpPr>
              <p:cNvPr id="68" name="Freeform 86">
                <a:extLst>
                  <a:ext uri="{FF2B5EF4-FFF2-40B4-BE49-F238E27FC236}">
                    <a16:creationId xmlns:a16="http://schemas.microsoft.com/office/drawing/2014/main" id="{75B6C8F9-6A98-4450-A923-9B282F016A72}"/>
                  </a:ext>
                </a:extLst>
              </p:cNvPr>
              <p:cNvSpPr>
                <a:spLocks/>
              </p:cNvSpPr>
              <p:nvPr/>
            </p:nvSpPr>
            <p:spPr bwMode="gray">
              <a:xfrm>
                <a:off x="4341017" y="2476716"/>
                <a:ext cx="747435" cy="424878"/>
              </a:xfrm>
              <a:custGeom>
                <a:avLst/>
                <a:gdLst>
                  <a:gd name="T0" fmla="*/ 143 w 1534"/>
                  <a:gd name="T1" fmla="*/ 776 h 871"/>
                  <a:gd name="T2" fmla="*/ 196 w 1534"/>
                  <a:gd name="T3" fmla="*/ 692 h 871"/>
                  <a:gd name="T4" fmla="*/ 299 w 1534"/>
                  <a:gd name="T5" fmla="*/ 592 h 871"/>
                  <a:gd name="T6" fmla="*/ 424 w 1534"/>
                  <a:gd name="T7" fmla="*/ 625 h 871"/>
                  <a:gd name="T8" fmla="*/ 496 w 1534"/>
                  <a:gd name="T9" fmla="*/ 625 h 871"/>
                  <a:gd name="T10" fmla="*/ 598 w 1534"/>
                  <a:gd name="T11" fmla="*/ 575 h 871"/>
                  <a:gd name="T12" fmla="*/ 618 w 1534"/>
                  <a:gd name="T13" fmla="*/ 507 h 871"/>
                  <a:gd name="T14" fmla="*/ 707 w 1534"/>
                  <a:gd name="T15" fmla="*/ 259 h 871"/>
                  <a:gd name="T16" fmla="*/ 811 w 1534"/>
                  <a:gd name="T17" fmla="*/ 196 h 871"/>
                  <a:gd name="T18" fmla="*/ 899 w 1534"/>
                  <a:gd name="T19" fmla="*/ 98 h 871"/>
                  <a:gd name="T20" fmla="*/ 1023 w 1534"/>
                  <a:gd name="T21" fmla="*/ 61 h 871"/>
                  <a:gd name="T22" fmla="*/ 1093 w 1534"/>
                  <a:gd name="T23" fmla="*/ 26 h 871"/>
                  <a:gd name="T24" fmla="*/ 1169 w 1534"/>
                  <a:gd name="T25" fmla="*/ 85 h 871"/>
                  <a:gd name="T26" fmla="*/ 1189 w 1534"/>
                  <a:gd name="T27" fmla="*/ 144 h 871"/>
                  <a:gd name="T28" fmla="*/ 1169 w 1534"/>
                  <a:gd name="T29" fmla="*/ 239 h 871"/>
                  <a:gd name="T30" fmla="*/ 1224 w 1534"/>
                  <a:gd name="T31" fmla="*/ 246 h 871"/>
                  <a:gd name="T32" fmla="*/ 1306 w 1534"/>
                  <a:gd name="T33" fmla="*/ 268 h 871"/>
                  <a:gd name="T34" fmla="*/ 1390 w 1534"/>
                  <a:gd name="T35" fmla="*/ 308 h 871"/>
                  <a:gd name="T36" fmla="*/ 1379 w 1534"/>
                  <a:gd name="T37" fmla="*/ 364 h 871"/>
                  <a:gd name="T38" fmla="*/ 1360 w 1534"/>
                  <a:gd name="T39" fmla="*/ 373 h 871"/>
                  <a:gd name="T40" fmla="*/ 1250 w 1534"/>
                  <a:gd name="T41" fmla="*/ 305 h 871"/>
                  <a:gd name="T42" fmla="*/ 1396 w 1534"/>
                  <a:gd name="T43" fmla="*/ 396 h 871"/>
                  <a:gd name="T44" fmla="*/ 1416 w 1534"/>
                  <a:gd name="T45" fmla="*/ 435 h 871"/>
                  <a:gd name="T46" fmla="*/ 1397 w 1534"/>
                  <a:gd name="T47" fmla="*/ 437 h 871"/>
                  <a:gd name="T48" fmla="*/ 1383 w 1534"/>
                  <a:gd name="T49" fmla="*/ 456 h 871"/>
                  <a:gd name="T50" fmla="*/ 1377 w 1534"/>
                  <a:gd name="T51" fmla="*/ 478 h 871"/>
                  <a:gd name="T52" fmla="*/ 1303 w 1534"/>
                  <a:gd name="T53" fmla="*/ 423 h 871"/>
                  <a:gd name="T54" fmla="*/ 1368 w 1534"/>
                  <a:gd name="T55" fmla="*/ 485 h 871"/>
                  <a:gd name="T56" fmla="*/ 1413 w 1534"/>
                  <a:gd name="T57" fmla="*/ 497 h 871"/>
                  <a:gd name="T58" fmla="*/ 1424 w 1534"/>
                  <a:gd name="T59" fmla="*/ 510 h 871"/>
                  <a:gd name="T60" fmla="*/ 1406 w 1534"/>
                  <a:gd name="T61" fmla="*/ 540 h 871"/>
                  <a:gd name="T62" fmla="*/ 1357 w 1534"/>
                  <a:gd name="T63" fmla="*/ 503 h 871"/>
                  <a:gd name="T64" fmla="*/ 1296 w 1534"/>
                  <a:gd name="T65" fmla="*/ 481 h 871"/>
                  <a:gd name="T66" fmla="*/ 1346 w 1534"/>
                  <a:gd name="T67" fmla="*/ 517 h 871"/>
                  <a:gd name="T68" fmla="*/ 1409 w 1534"/>
                  <a:gd name="T69" fmla="*/ 562 h 871"/>
                  <a:gd name="T70" fmla="*/ 1430 w 1534"/>
                  <a:gd name="T71" fmla="*/ 542 h 871"/>
                  <a:gd name="T72" fmla="*/ 1490 w 1534"/>
                  <a:gd name="T73" fmla="*/ 545 h 871"/>
                  <a:gd name="T74" fmla="*/ 1506 w 1534"/>
                  <a:gd name="T75" fmla="*/ 612 h 871"/>
                  <a:gd name="T76" fmla="*/ 895 w 1534"/>
                  <a:gd name="T77" fmla="*/ 752 h 871"/>
                  <a:gd name="T78" fmla="*/ 0 w 1534"/>
                  <a:gd name="T79" fmla="*/ 871 h 8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34"/>
                  <a:gd name="T121" fmla="*/ 0 h 871"/>
                  <a:gd name="T122" fmla="*/ 1534 w 1534"/>
                  <a:gd name="T123" fmla="*/ 871 h 8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34" h="871">
                    <a:moveTo>
                      <a:pt x="0" y="871"/>
                    </a:moveTo>
                    <a:lnTo>
                      <a:pt x="143" y="776"/>
                    </a:lnTo>
                    <a:lnTo>
                      <a:pt x="144" y="755"/>
                    </a:lnTo>
                    <a:lnTo>
                      <a:pt x="196" y="692"/>
                    </a:lnTo>
                    <a:lnTo>
                      <a:pt x="244" y="658"/>
                    </a:lnTo>
                    <a:lnTo>
                      <a:pt x="299" y="592"/>
                    </a:lnTo>
                    <a:lnTo>
                      <a:pt x="355" y="658"/>
                    </a:lnTo>
                    <a:lnTo>
                      <a:pt x="424" y="625"/>
                    </a:lnTo>
                    <a:lnTo>
                      <a:pt x="453" y="645"/>
                    </a:lnTo>
                    <a:lnTo>
                      <a:pt x="496" y="625"/>
                    </a:lnTo>
                    <a:lnTo>
                      <a:pt x="522" y="588"/>
                    </a:lnTo>
                    <a:lnTo>
                      <a:pt x="598" y="575"/>
                    </a:lnTo>
                    <a:lnTo>
                      <a:pt x="638" y="521"/>
                    </a:lnTo>
                    <a:lnTo>
                      <a:pt x="618" y="507"/>
                    </a:lnTo>
                    <a:lnTo>
                      <a:pt x="690" y="343"/>
                    </a:lnTo>
                    <a:lnTo>
                      <a:pt x="707" y="259"/>
                    </a:lnTo>
                    <a:lnTo>
                      <a:pt x="776" y="292"/>
                    </a:lnTo>
                    <a:lnTo>
                      <a:pt x="811" y="196"/>
                    </a:lnTo>
                    <a:lnTo>
                      <a:pt x="847" y="190"/>
                    </a:lnTo>
                    <a:lnTo>
                      <a:pt x="899" y="98"/>
                    </a:lnTo>
                    <a:lnTo>
                      <a:pt x="915" y="0"/>
                    </a:lnTo>
                    <a:lnTo>
                      <a:pt x="1023" y="61"/>
                    </a:lnTo>
                    <a:lnTo>
                      <a:pt x="1041" y="11"/>
                    </a:lnTo>
                    <a:lnTo>
                      <a:pt x="1093" y="26"/>
                    </a:lnTo>
                    <a:lnTo>
                      <a:pt x="1123" y="64"/>
                    </a:lnTo>
                    <a:lnTo>
                      <a:pt x="1169" y="85"/>
                    </a:lnTo>
                    <a:lnTo>
                      <a:pt x="1190" y="116"/>
                    </a:lnTo>
                    <a:lnTo>
                      <a:pt x="1189" y="144"/>
                    </a:lnTo>
                    <a:lnTo>
                      <a:pt x="1156" y="201"/>
                    </a:lnTo>
                    <a:lnTo>
                      <a:pt x="1169" y="239"/>
                    </a:lnTo>
                    <a:lnTo>
                      <a:pt x="1208" y="222"/>
                    </a:lnTo>
                    <a:lnTo>
                      <a:pt x="1224" y="246"/>
                    </a:lnTo>
                    <a:lnTo>
                      <a:pt x="1238" y="262"/>
                    </a:lnTo>
                    <a:lnTo>
                      <a:pt x="1306" y="268"/>
                    </a:lnTo>
                    <a:lnTo>
                      <a:pt x="1326" y="291"/>
                    </a:lnTo>
                    <a:lnTo>
                      <a:pt x="1390" y="308"/>
                    </a:lnTo>
                    <a:lnTo>
                      <a:pt x="1374" y="325"/>
                    </a:lnTo>
                    <a:lnTo>
                      <a:pt x="1379" y="364"/>
                    </a:lnTo>
                    <a:lnTo>
                      <a:pt x="1384" y="380"/>
                    </a:lnTo>
                    <a:lnTo>
                      <a:pt x="1360" y="373"/>
                    </a:lnTo>
                    <a:lnTo>
                      <a:pt x="1319" y="351"/>
                    </a:lnTo>
                    <a:lnTo>
                      <a:pt x="1250" y="305"/>
                    </a:lnTo>
                    <a:lnTo>
                      <a:pt x="1345" y="393"/>
                    </a:lnTo>
                    <a:lnTo>
                      <a:pt x="1396" y="396"/>
                    </a:lnTo>
                    <a:lnTo>
                      <a:pt x="1367" y="411"/>
                    </a:lnTo>
                    <a:lnTo>
                      <a:pt x="1416" y="435"/>
                    </a:lnTo>
                    <a:lnTo>
                      <a:pt x="1415" y="455"/>
                    </a:lnTo>
                    <a:lnTo>
                      <a:pt x="1397" y="437"/>
                    </a:lnTo>
                    <a:lnTo>
                      <a:pt x="1377" y="438"/>
                    </a:lnTo>
                    <a:lnTo>
                      <a:pt x="1383" y="456"/>
                    </a:lnTo>
                    <a:lnTo>
                      <a:pt x="1397" y="468"/>
                    </a:lnTo>
                    <a:lnTo>
                      <a:pt x="1377" y="478"/>
                    </a:lnTo>
                    <a:lnTo>
                      <a:pt x="1325" y="441"/>
                    </a:lnTo>
                    <a:lnTo>
                      <a:pt x="1303" y="423"/>
                    </a:lnTo>
                    <a:lnTo>
                      <a:pt x="1316" y="448"/>
                    </a:lnTo>
                    <a:lnTo>
                      <a:pt x="1368" y="485"/>
                    </a:lnTo>
                    <a:lnTo>
                      <a:pt x="1390" y="488"/>
                    </a:lnTo>
                    <a:lnTo>
                      <a:pt x="1413" y="497"/>
                    </a:lnTo>
                    <a:lnTo>
                      <a:pt x="1411" y="510"/>
                    </a:lnTo>
                    <a:lnTo>
                      <a:pt x="1424" y="510"/>
                    </a:lnTo>
                    <a:lnTo>
                      <a:pt x="1428" y="522"/>
                    </a:lnTo>
                    <a:lnTo>
                      <a:pt x="1406" y="540"/>
                    </a:lnTo>
                    <a:lnTo>
                      <a:pt x="1366" y="522"/>
                    </a:lnTo>
                    <a:lnTo>
                      <a:pt x="1357" y="503"/>
                    </a:lnTo>
                    <a:lnTo>
                      <a:pt x="1306" y="497"/>
                    </a:lnTo>
                    <a:lnTo>
                      <a:pt x="1296" y="481"/>
                    </a:lnTo>
                    <a:lnTo>
                      <a:pt x="1280" y="502"/>
                    </a:lnTo>
                    <a:lnTo>
                      <a:pt x="1346" y="517"/>
                    </a:lnTo>
                    <a:lnTo>
                      <a:pt x="1351" y="536"/>
                    </a:lnTo>
                    <a:lnTo>
                      <a:pt x="1409" y="562"/>
                    </a:lnTo>
                    <a:lnTo>
                      <a:pt x="1425" y="562"/>
                    </a:lnTo>
                    <a:lnTo>
                      <a:pt x="1430" y="542"/>
                    </a:lnTo>
                    <a:lnTo>
                      <a:pt x="1452" y="548"/>
                    </a:lnTo>
                    <a:lnTo>
                      <a:pt x="1490" y="545"/>
                    </a:lnTo>
                    <a:lnTo>
                      <a:pt x="1534" y="625"/>
                    </a:lnTo>
                    <a:lnTo>
                      <a:pt x="1506" y="612"/>
                    </a:lnTo>
                    <a:lnTo>
                      <a:pt x="1498" y="636"/>
                    </a:lnTo>
                    <a:lnTo>
                      <a:pt x="895" y="752"/>
                    </a:lnTo>
                    <a:lnTo>
                      <a:pt x="396" y="817"/>
                    </a:lnTo>
                    <a:lnTo>
                      <a:pt x="0" y="87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9" name="Freeform 87">
                <a:extLst>
                  <a:ext uri="{FF2B5EF4-FFF2-40B4-BE49-F238E27FC236}">
                    <a16:creationId xmlns:a16="http://schemas.microsoft.com/office/drawing/2014/main" id="{E7D2252E-2E7E-4779-A22C-0556F0E7D247}"/>
                  </a:ext>
                </a:extLst>
              </p:cNvPr>
              <p:cNvSpPr>
                <a:spLocks/>
              </p:cNvSpPr>
              <p:nvPr/>
            </p:nvSpPr>
            <p:spPr bwMode="gray">
              <a:xfrm>
                <a:off x="5055319" y="2595604"/>
                <a:ext cx="41903" cy="119863"/>
              </a:xfrm>
              <a:custGeom>
                <a:avLst/>
                <a:gdLst>
                  <a:gd name="T0" fmla="*/ 1 w 86"/>
                  <a:gd name="T1" fmla="*/ 139 h 247"/>
                  <a:gd name="T2" fmla="*/ 0 w 86"/>
                  <a:gd name="T3" fmla="*/ 216 h 247"/>
                  <a:gd name="T4" fmla="*/ 18 w 86"/>
                  <a:gd name="T5" fmla="*/ 247 h 247"/>
                  <a:gd name="T6" fmla="*/ 33 w 86"/>
                  <a:gd name="T7" fmla="*/ 156 h 247"/>
                  <a:gd name="T8" fmla="*/ 61 w 86"/>
                  <a:gd name="T9" fmla="*/ 118 h 247"/>
                  <a:gd name="T10" fmla="*/ 86 w 86"/>
                  <a:gd name="T11" fmla="*/ 0 h 247"/>
                  <a:gd name="T12" fmla="*/ 36 w 86"/>
                  <a:gd name="T13" fmla="*/ 27 h 247"/>
                  <a:gd name="T14" fmla="*/ 1 w 86"/>
                  <a:gd name="T15" fmla="*/ 139 h 247"/>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247"/>
                  <a:gd name="T26" fmla="*/ 86 w 86"/>
                  <a:gd name="T27" fmla="*/ 247 h 2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247">
                    <a:moveTo>
                      <a:pt x="1" y="139"/>
                    </a:moveTo>
                    <a:lnTo>
                      <a:pt x="0" y="216"/>
                    </a:lnTo>
                    <a:lnTo>
                      <a:pt x="18" y="247"/>
                    </a:lnTo>
                    <a:lnTo>
                      <a:pt x="33" y="156"/>
                    </a:lnTo>
                    <a:lnTo>
                      <a:pt x="61" y="118"/>
                    </a:lnTo>
                    <a:lnTo>
                      <a:pt x="86" y="0"/>
                    </a:lnTo>
                    <a:lnTo>
                      <a:pt x="36" y="27"/>
                    </a:lnTo>
                    <a:lnTo>
                      <a:pt x="1" y="139"/>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grpSp>
          <p:nvGrpSpPr>
            <p:cNvPr id="60" name="Group 112">
              <a:extLst>
                <a:ext uri="{FF2B5EF4-FFF2-40B4-BE49-F238E27FC236}">
                  <a16:creationId xmlns:a16="http://schemas.microsoft.com/office/drawing/2014/main" id="{1819E4F9-0244-40DC-B04A-9DE2873442C8}"/>
                </a:ext>
              </a:extLst>
            </p:cNvPr>
            <p:cNvGrpSpPr/>
            <p:nvPr/>
          </p:nvGrpSpPr>
          <p:grpSpPr bwMode="gray">
            <a:xfrm>
              <a:off x="813361" y="1144588"/>
              <a:ext cx="646088" cy="471653"/>
              <a:chOff x="813361" y="1144588"/>
              <a:chExt cx="646088" cy="471653"/>
            </a:xfrm>
            <a:grpFill/>
          </p:grpSpPr>
          <p:sp>
            <p:nvSpPr>
              <p:cNvPr id="65" name="Freeform 88">
                <a:extLst>
                  <a:ext uri="{FF2B5EF4-FFF2-40B4-BE49-F238E27FC236}">
                    <a16:creationId xmlns:a16="http://schemas.microsoft.com/office/drawing/2014/main" id="{835728EC-852F-4955-B860-0BC89C86D2ED}"/>
                  </a:ext>
                </a:extLst>
              </p:cNvPr>
              <p:cNvSpPr>
                <a:spLocks/>
              </p:cNvSpPr>
              <p:nvPr/>
            </p:nvSpPr>
            <p:spPr bwMode="gray">
              <a:xfrm>
                <a:off x="813361" y="1144588"/>
                <a:ext cx="646088" cy="471653"/>
              </a:xfrm>
              <a:custGeom>
                <a:avLst/>
                <a:gdLst>
                  <a:gd name="T0" fmla="*/ 46 w 1325"/>
                  <a:gd name="T1" fmla="*/ 266 h 966"/>
                  <a:gd name="T2" fmla="*/ 39 w 1325"/>
                  <a:gd name="T3" fmla="*/ 412 h 966"/>
                  <a:gd name="T4" fmla="*/ 56 w 1325"/>
                  <a:gd name="T5" fmla="*/ 430 h 966"/>
                  <a:gd name="T6" fmla="*/ 30 w 1325"/>
                  <a:gd name="T7" fmla="*/ 476 h 966"/>
                  <a:gd name="T8" fmla="*/ 41 w 1325"/>
                  <a:gd name="T9" fmla="*/ 501 h 966"/>
                  <a:gd name="T10" fmla="*/ 16 w 1325"/>
                  <a:gd name="T11" fmla="*/ 561 h 966"/>
                  <a:gd name="T12" fmla="*/ 0 w 1325"/>
                  <a:gd name="T13" fmla="*/ 571 h 966"/>
                  <a:gd name="T14" fmla="*/ 98 w 1325"/>
                  <a:gd name="T15" fmla="*/ 646 h 966"/>
                  <a:gd name="T16" fmla="*/ 165 w 1325"/>
                  <a:gd name="T17" fmla="*/ 779 h 966"/>
                  <a:gd name="T18" fmla="*/ 477 w 1325"/>
                  <a:gd name="T19" fmla="*/ 885 h 966"/>
                  <a:gd name="T20" fmla="*/ 1174 w 1325"/>
                  <a:gd name="T21" fmla="*/ 966 h 966"/>
                  <a:gd name="T22" fmla="*/ 408 w 1325"/>
                  <a:gd name="T23" fmla="*/ 0 h 966"/>
                  <a:gd name="T24" fmla="*/ 394 w 1325"/>
                  <a:gd name="T25" fmla="*/ 24 h 966"/>
                  <a:gd name="T26" fmla="*/ 404 w 1325"/>
                  <a:gd name="T27" fmla="*/ 66 h 966"/>
                  <a:gd name="T28" fmla="*/ 425 w 1325"/>
                  <a:gd name="T29" fmla="*/ 96 h 966"/>
                  <a:gd name="T30" fmla="*/ 391 w 1325"/>
                  <a:gd name="T31" fmla="*/ 120 h 966"/>
                  <a:gd name="T32" fmla="*/ 399 w 1325"/>
                  <a:gd name="T33" fmla="*/ 144 h 966"/>
                  <a:gd name="T34" fmla="*/ 417 w 1325"/>
                  <a:gd name="T35" fmla="*/ 249 h 966"/>
                  <a:gd name="T36" fmla="*/ 410 w 1325"/>
                  <a:gd name="T37" fmla="*/ 267 h 966"/>
                  <a:gd name="T38" fmla="*/ 375 w 1325"/>
                  <a:gd name="T39" fmla="*/ 330 h 966"/>
                  <a:gd name="T40" fmla="*/ 365 w 1325"/>
                  <a:gd name="T41" fmla="*/ 351 h 966"/>
                  <a:gd name="T42" fmla="*/ 342 w 1325"/>
                  <a:gd name="T43" fmla="*/ 430 h 966"/>
                  <a:gd name="T44" fmla="*/ 287 w 1325"/>
                  <a:gd name="T45" fmla="*/ 455 h 966"/>
                  <a:gd name="T46" fmla="*/ 263 w 1325"/>
                  <a:gd name="T47" fmla="*/ 444 h 966"/>
                  <a:gd name="T48" fmla="*/ 243 w 1325"/>
                  <a:gd name="T49" fmla="*/ 458 h 966"/>
                  <a:gd name="T50" fmla="*/ 248 w 1325"/>
                  <a:gd name="T51" fmla="*/ 429 h 966"/>
                  <a:gd name="T52" fmla="*/ 227 w 1325"/>
                  <a:gd name="T53" fmla="*/ 413 h 966"/>
                  <a:gd name="T54" fmla="*/ 260 w 1325"/>
                  <a:gd name="T55" fmla="*/ 397 h 966"/>
                  <a:gd name="T56" fmla="*/ 279 w 1325"/>
                  <a:gd name="T57" fmla="*/ 431 h 966"/>
                  <a:gd name="T58" fmla="*/ 302 w 1325"/>
                  <a:gd name="T59" fmla="*/ 409 h 966"/>
                  <a:gd name="T60" fmla="*/ 329 w 1325"/>
                  <a:gd name="T61" fmla="*/ 389 h 966"/>
                  <a:gd name="T62" fmla="*/ 316 w 1325"/>
                  <a:gd name="T63" fmla="*/ 350 h 966"/>
                  <a:gd name="T64" fmla="*/ 334 w 1325"/>
                  <a:gd name="T65" fmla="*/ 305 h 966"/>
                  <a:gd name="T66" fmla="*/ 356 w 1325"/>
                  <a:gd name="T67" fmla="*/ 255 h 966"/>
                  <a:gd name="T68" fmla="*/ 326 w 1325"/>
                  <a:gd name="T69" fmla="*/ 295 h 966"/>
                  <a:gd name="T70" fmla="*/ 263 w 1325"/>
                  <a:gd name="T71" fmla="*/ 338 h 966"/>
                  <a:gd name="T72" fmla="*/ 244 w 1325"/>
                  <a:gd name="T73" fmla="*/ 377 h 966"/>
                  <a:gd name="T74" fmla="*/ 289 w 1325"/>
                  <a:gd name="T75" fmla="*/ 304 h 966"/>
                  <a:gd name="T76" fmla="*/ 339 w 1325"/>
                  <a:gd name="T77" fmla="*/ 273 h 966"/>
                  <a:gd name="T78" fmla="*/ 345 w 1325"/>
                  <a:gd name="T79" fmla="*/ 232 h 966"/>
                  <a:gd name="T80" fmla="*/ 332 w 1325"/>
                  <a:gd name="T81" fmla="*/ 202 h 966"/>
                  <a:gd name="T82" fmla="*/ 317 w 1325"/>
                  <a:gd name="T83" fmla="*/ 208 h 966"/>
                  <a:gd name="T84" fmla="*/ 284 w 1325"/>
                  <a:gd name="T85" fmla="*/ 181 h 966"/>
                  <a:gd name="T86" fmla="*/ 55 w 1325"/>
                  <a:gd name="T87" fmla="*/ 47 h 9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25"/>
                  <a:gd name="T133" fmla="*/ 0 h 966"/>
                  <a:gd name="T134" fmla="*/ 1325 w 1325"/>
                  <a:gd name="T135" fmla="*/ 966 h 9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25" h="966">
                    <a:moveTo>
                      <a:pt x="30" y="167"/>
                    </a:moveTo>
                    <a:lnTo>
                      <a:pt x="49" y="210"/>
                    </a:lnTo>
                    <a:lnTo>
                      <a:pt x="46" y="266"/>
                    </a:lnTo>
                    <a:lnTo>
                      <a:pt x="41" y="318"/>
                    </a:lnTo>
                    <a:lnTo>
                      <a:pt x="48" y="339"/>
                    </a:lnTo>
                    <a:lnTo>
                      <a:pt x="39" y="412"/>
                    </a:lnTo>
                    <a:lnTo>
                      <a:pt x="61" y="397"/>
                    </a:lnTo>
                    <a:lnTo>
                      <a:pt x="92" y="426"/>
                    </a:lnTo>
                    <a:lnTo>
                      <a:pt x="56" y="430"/>
                    </a:lnTo>
                    <a:lnTo>
                      <a:pt x="36" y="428"/>
                    </a:lnTo>
                    <a:lnTo>
                      <a:pt x="33" y="457"/>
                    </a:lnTo>
                    <a:lnTo>
                      <a:pt x="30" y="476"/>
                    </a:lnTo>
                    <a:lnTo>
                      <a:pt x="62" y="476"/>
                    </a:lnTo>
                    <a:lnTo>
                      <a:pt x="67" y="489"/>
                    </a:lnTo>
                    <a:lnTo>
                      <a:pt x="41" y="501"/>
                    </a:lnTo>
                    <a:lnTo>
                      <a:pt x="46" y="529"/>
                    </a:lnTo>
                    <a:lnTo>
                      <a:pt x="28" y="562"/>
                    </a:lnTo>
                    <a:lnTo>
                      <a:pt x="16" y="561"/>
                    </a:lnTo>
                    <a:lnTo>
                      <a:pt x="29" y="513"/>
                    </a:lnTo>
                    <a:lnTo>
                      <a:pt x="22" y="499"/>
                    </a:lnTo>
                    <a:lnTo>
                      <a:pt x="0" y="571"/>
                    </a:lnTo>
                    <a:lnTo>
                      <a:pt x="36" y="595"/>
                    </a:lnTo>
                    <a:lnTo>
                      <a:pt x="93" y="621"/>
                    </a:lnTo>
                    <a:lnTo>
                      <a:pt x="98" y="646"/>
                    </a:lnTo>
                    <a:lnTo>
                      <a:pt x="124" y="650"/>
                    </a:lnTo>
                    <a:lnTo>
                      <a:pt x="173" y="747"/>
                    </a:lnTo>
                    <a:lnTo>
                      <a:pt x="165" y="779"/>
                    </a:lnTo>
                    <a:lnTo>
                      <a:pt x="242" y="845"/>
                    </a:lnTo>
                    <a:lnTo>
                      <a:pt x="377" y="840"/>
                    </a:lnTo>
                    <a:lnTo>
                      <a:pt x="477" y="885"/>
                    </a:lnTo>
                    <a:lnTo>
                      <a:pt x="525" y="875"/>
                    </a:lnTo>
                    <a:lnTo>
                      <a:pt x="828" y="885"/>
                    </a:lnTo>
                    <a:lnTo>
                      <a:pt x="1174" y="966"/>
                    </a:lnTo>
                    <a:lnTo>
                      <a:pt x="1181" y="860"/>
                    </a:lnTo>
                    <a:lnTo>
                      <a:pt x="1325" y="240"/>
                    </a:lnTo>
                    <a:lnTo>
                      <a:pt x="408" y="0"/>
                    </a:lnTo>
                    <a:lnTo>
                      <a:pt x="398" y="5"/>
                    </a:lnTo>
                    <a:lnTo>
                      <a:pt x="404" y="18"/>
                    </a:lnTo>
                    <a:lnTo>
                      <a:pt x="394" y="24"/>
                    </a:lnTo>
                    <a:lnTo>
                      <a:pt x="404" y="37"/>
                    </a:lnTo>
                    <a:lnTo>
                      <a:pt x="400" y="51"/>
                    </a:lnTo>
                    <a:lnTo>
                      <a:pt x="404" y="66"/>
                    </a:lnTo>
                    <a:lnTo>
                      <a:pt x="417" y="61"/>
                    </a:lnTo>
                    <a:lnTo>
                      <a:pt x="432" y="68"/>
                    </a:lnTo>
                    <a:lnTo>
                      <a:pt x="425" y="96"/>
                    </a:lnTo>
                    <a:lnTo>
                      <a:pt x="430" y="107"/>
                    </a:lnTo>
                    <a:lnTo>
                      <a:pt x="412" y="143"/>
                    </a:lnTo>
                    <a:lnTo>
                      <a:pt x="391" y="120"/>
                    </a:lnTo>
                    <a:lnTo>
                      <a:pt x="382" y="124"/>
                    </a:lnTo>
                    <a:lnTo>
                      <a:pt x="382" y="141"/>
                    </a:lnTo>
                    <a:lnTo>
                      <a:pt x="399" y="144"/>
                    </a:lnTo>
                    <a:lnTo>
                      <a:pt x="418" y="183"/>
                    </a:lnTo>
                    <a:lnTo>
                      <a:pt x="410" y="233"/>
                    </a:lnTo>
                    <a:lnTo>
                      <a:pt x="417" y="249"/>
                    </a:lnTo>
                    <a:lnTo>
                      <a:pt x="429" y="253"/>
                    </a:lnTo>
                    <a:lnTo>
                      <a:pt x="421" y="262"/>
                    </a:lnTo>
                    <a:lnTo>
                      <a:pt x="410" y="267"/>
                    </a:lnTo>
                    <a:lnTo>
                      <a:pt x="382" y="299"/>
                    </a:lnTo>
                    <a:lnTo>
                      <a:pt x="382" y="310"/>
                    </a:lnTo>
                    <a:lnTo>
                      <a:pt x="375" y="330"/>
                    </a:lnTo>
                    <a:lnTo>
                      <a:pt x="368" y="332"/>
                    </a:lnTo>
                    <a:lnTo>
                      <a:pt x="377" y="347"/>
                    </a:lnTo>
                    <a:lnTo>
                      <a:pt x="365" y="351"/>
                    </a:lnTo>
                    <a:lnTo>
                      <a:pt x="365" y="408"/>
                    </a:lnTo>
                    <a:lnTo>
                      <a:pt x="342" y="415"/>
                    </a:lnTo>
                    <a:lnTo>
                      <a:pt x="342" y="430"/>
                    </a:lnTo>
                    <a:lnTo>
                      <a:pt x="326" y="411"/>
                    </a:lnTo>
                    <a:lnTo>
                      <a:pt x="323" y="422"/>
                    </a:lnTo>
                    <a:lnTo>
                      <a:pt x="287" y="455"/>
                    </a:lnTo>
                    <a:lnTo>
                      <a:pt x="274" y="450"/>
                    </a:lnTo>
                    <a:lnTo>
                      <a:pt x="268" y="434"/>
                    </a:lnTo>
                    <a:lnTo>
                      <a:pt x="263" y="444"/>
                    </a:lnTo>
                    <a:lnTo>
                      <a:pt x="255" y="436"/>
                    </a:lnTo>
                    <a:lnTo>
                      <a:pt x="248" y="461"/>
                    </a:lnTo>
                    <a:lnTo>
                      <a:pt x="243" y="458"/>
                    </a:lnTo>
                    <a:lnTo>
                      <a:pt x="245" y="441"/>
                    </a:lnTo>
                    <a:lnTo>
                      <a:pt x="232" y="443"/>
                    </a:lnTo>
                    <a:lnTo>
                      <a:pt x="248" y="429"/>
                    </a:lnTo>
                    <a:lnTo>
                      <a:pt x="228" y="428"/>
                    </a:lnTo>
                    <a:lnTo>
                      <a:pt x="243" y="418"/>
                    </a:lnTo>
                    <a:lnTo>
                      <a:pt x="227" y="413"/>
                    </a:lnTo>
                    <a:lnTo>
                      <a:pt x="234" y="402"/>
                    </a:lnTo>
                    <a:lnTo>
                      <a:pt x="250" y="413"/>
                    </a:lnTo>
                    <a:lnTo>
                      <a:pt x="260" y="397"/>
                    </a:lnTo>
                    <a:lnTo>
                      <a:pt x="287" y="383"/>
                    </a:lnTo>
                    <a:lnTo>
                      <a:pt x="273" y="416"/>
                    </a:lnTo>
                    <a:lnTo>
                      <a:pt x="279" y="431"/>
                    </a:lnTo>
                    <a:lnTo>
                      <a:pt x="289" y="400"/>
                    </a:lnTo>
                    <a:lnTo>
                      <a:pt x="315" y="387"/>
                    </a:lnTo>
                    <a:lnTo>
                      <a:pt x="302" y="409"/>
                    </a:lnTo>
                    <a:lnTo>
                      <a:pt x="316" y="421"/>
                    </a:lnTo>
                    <a:lnTo>
                      <a:pt x="316" y="403"/>
                    </a:lnTo>
                    <a:lnTo>
                      <a:pt x="329" y="389"/>
                    </a:lnTo>
                    <a:lnTo>
                      <a:pt x="343" y="366"/>
                    </a:lnTo>
                    <a:lnTo>
                      <a:pt x="340" y="348"/>
                    </a:lnTo>
                    <a:lnTo>
                      <a:pt x="316" y="350"/>
                    </a:lnTo>
                    <a:lnTo>
                      <a:pt x="320" y="328"/>
                    </a:lnTo>
                    <a:lnTo>
                      <a:pt x="333" y="340"/>
                    </a:lnTo>
                    <a:lnTo>
                      <a:pt x="334" y="305"/>
                    </a:lnTo>
                    <a:lnTo>
                      <a:pt x="365" y="307"/>
                    </a:lnTo>
                    <a:lnTo>
                      <a:pt x="367" y="273"/>
                    </a:lnTo>
                    <a:lnTo>
                      <a:pt x="356" y="255"/>
                    </a:lnTo>
                    <a:lnTo>
                      <a:pt x="355" y="287"/>
                    </a:lnTo>
                    <a:lnTo>
                      <a:pt x="347" y="280"/>
                    </a:lnTo>
                    <a:lnTo>
                      <a:pt x="326" y="295"/>
                    </a:lnTo>
                    <a:lnTo>
                      <a:pt x="313" y="315"/>
                    </a:lnTo>
                    <a:lnTo>
                      <a:pt x="295" y="317"/>
                    </a:lnTo>
                    <a:lnTo>
                      <a:pt x="263" y="338"/>
                    </a:lnTo>
                    <a:lnTo>
                      <a:pt x="238" y="366"/>
                    </a:lnTo>
                    <a:lnTo>
                      <a:pt x="282" y="367"/>
                    </a:lnTo>
                    <a:lnTo>
                      <a:pt x="244" y="377"/>
                    </a:lnTo>
                    <a:lnTo>
                      <a:pt x="227" y="370"/>
                    </a:lnTo>
                    <a:lnTo>
                      <a:pt x="263" y="317"/>
                    </a:lnTo>
                    <a:lnTo>
                      <a:pt x="289" y="304"/>
                    </a:lnTo>
                    <a:lnTo>
                      <a:pt x="317" y="271"/>
                    </a:lnTo>
                    <a:lnTo>
                      <a:pt x="322" y="289"/>
                    </a:lnTo>
                    <a:lnTo>
                      <a:pt x="339" y="273"/>
                    </a:lnTo>
                    <a:lnTo>
                      <a:pt x="355" y="237"/>
                    </a:lnTo>
                    <a:lnTo>
                      <a:pt x="351" y="213"/>
                    </a:lnTo>
                    <a:lnTo>
                      <a:pt x="345" y="232"/>
                    </a:lnTo>
                    <a:lnTo>
                      <a:pt x="335" y="229"/>
                    </a:lnTo>
                    <a:lnTo>
                      <a:pt x="343" y="202"/>
                    </a:lnTo>
                    <a:lnTo>
                      <a:pt x="332" y="202"/>
                    </a:lnTo>
                    <a:lnTo>
                      <a:pt x="329" y="226"/>
                    </a:lnTo>
                    <a:lnTo>
                      <a:pt x="319" y="233"/>
                    </a:lnTo>
                    <a:lnTo>
                      <a:pt x="317" y="208"/>
                    </a:lnTo>
                    <a:lnTo>
                      <a:pt x="308" y="202"/>
                    </a:lnTo>
                    <a:lnTo>
                      <a:pt x="300" y="214"/>
                    </a:lnTo>
                    <a:lnTo>
                      <a:pt x="284" y="181"/>
                    </a:lnTo>
                    <a:lnTo>
                      <a:pt x="254" y="180"/>
                    </a:lnTo>
                    <a:lnTo>
                      <a:pt x="137" y="120"/>
                    </a:lnTo>
                    <a:lnTo>
                      <a:pt x="55" y="47"/>
                    </a:lnTo>
                    <a:lnTo>
                      <a:pt x="32" y="100"/>
                    </a:lnTo>
                    <a:lnTo>
                      <a:pt x="30" y="16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6" name="Freeform 89">
                <a:extLst>
                  <a:ext uri="{FF2B5EF4-FFF2-40B4-BE49-F238E27FC236}">
                    <a16:creationId xmlns:a16="http://schemas.microsoft.com/office/drawing/2014/main" id="{FE189E07-551A-4B68-8F4B-A16D7497AF5D}"/>
                  </a:ext>
                </a:extLst>
              </p:cNvPr>
              <p:cNvSpPr>
                <a:spLocks/>
              </p:cNvSpPr>
              <p:nvPr/>
            </p:nvSpPr>
            <p:spPr bwMode="gray">
              <a:xfrm>
                <a:off x="965382" y="1172848"/>
                <a:ext cx="29235" cy="35082"/>
              </a:xfrm>
              <a:custGeom>
                <a:avLst/>
                <a:gdLst>
                  <a:gd name="T0" fmla="*/ 0 w 60"/>
                  <a:gd name="T1" fmla="*/ 32 h 72"/>
                  <a:gd name="T2" fmla="*/ 49 w 60"/>
                  <a:gd name="T3" fmla="*/ 0 h 72"/>
                  <a:gd name="T4" fmla="*/ 60 w 60"/>
                  <a:gd name="T5" fmla="*/ 30 h 72"/>
                  <a:gd name="T6" fmla="*/ 50 w 60"/>
                  <a:gd name="T7" fmla="*/ 72 h 72"/>
                  <a:gd name="T8" fmla="*/ 0 w 60"/>
                  <a:gd name="T9" fmla="*/ 32 h 72"/>
                  <a:gd name="T10" fmla="*/ 0 60000 65536"/>
                  <a:gd name="T11" fmla="*/ 0 60000 65536"/>
                  <a:gd name="T12" fmla="*/ 0 60000 65536"/>
                  <a:gd name="T13" fmla="*/ 0 60000 65536"/>
                  <a:gd name="T14" fmla="*/ 0 60000 65536"/>
                  <a:gd name="T15" fmla="*/ 0 w 60"/>
                  <a:gd name="T16" fmla="*/ 0 h 72"/>
                  <a:gd name="T17" fmla="*/ 60 w 60"/>
                  <a:gd name="T18" fmla="*/ 72 h 72"/>
                </a:gdLst>
                <a:ahLst/>
                <a:cxnLst>
                  <a:cxn ang="T10">
                    <a:pos x="T0" y="T1"/>
                  </a:cxn>
                  <a:cxn ang="T11">
                    <a:pos x="T2" y="T3"/>
                  </a:cxn>
                  <a:cxn ang="T12">
                    <a:pos x="T4" y="T5"/>
                  </a:cxn>
                  <a:cxn ang="T13">
                    <a:pos x="T6" y="T7"/>
                  </a:cxn>
                  <a:cxn ang="T14">
                    <a:pos x="T8" y="T9"/>
                  </a:cxn>
                </a:cxnLst>
                <a:rect l="T15" t="T16" r="T17" b="T18"/>
                <a:pathLst>
                  <a:path w="60" h="72">
                    <a:moveTo>
                      <a:pt x="0" y="32"/>
                    </a:moveTo>
                    <a:lnTo>
                      <a:pt x="49" y="0"/>
                    </a:lnTo>
                    <a:lnTo>
                      <a:pt x="60" y="30"/>
                    </a:lnTo>
                    <a:lnTo>
                      <a:pt x="50" y="72"/>
                    </a:lnTo>
                    <a:lnTo>
                      <a:pt x="0" y="32"/>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7" name="Freeform 90">
                <a:extLst>
                  <a:ext uri="{FF2B5EF4-FFF2-40B4-BE49-F238E27FC236}">
                    <a16:creationId xmlns:a16="http://schemas.microsoft.com/office/drawing/2014/main" id="{439EEBC7-67BC-4CC3-B45C-9E54ED425BB0}"/>
                  </a:ext>
                </a:extLst>
              </p:cNvPr>
              <p:cNvSpPr>
                <a:spLocks/>
              </p:cNvSpPr>
              <p:nvPr/>
            </p:nvSpPr>
            <p:spPr bwMode="gray">
              <a:xfrm>
                <a:off x="985847" y="1218649"/>
                <a:ext cx="21439" cy="49699"/>
              </a:xfrm>
              <a:custGeom>
                <a:avLst/>
                <a:gdLst>
                  <a:gd name="T0" fmla="*/ 0 w 44"/>
                  <a:gd name="T1" fmla="*/ 28 h 103"/>
                  <a:gd name="T2" fmla="*/ 26 w 44"/>
                  <a:gd name="T3" fmla="*/ 0 h 103"/>
                  <a:gd name="T4" fmla="*/ 44 w 44"/>
                  <a:gd name="T5" fmla="*/ 17 h 103"/>
                  <a:gd name="T6" fmla="*/ 32 w 44"/>
                  <a:gd name="T7" fmla="*/ 103 h 103"/>
                  <a:gd name="T8" fmla="*/ 0 w 44"/>
                  <a:gd name="T9" fmla="*/ 28 h 103"/>
                  <a:gd name="T10" fmla="*/ 0 60000 65536"/>
                  <a:gd name="T11" fmla="*/ 0 60000 65536"/>
                  <a:gd name="T12" fmla="*/ 0 60000 65536"/>
                  <a:gd name="T13" fmla="*/ 0 60000 65536"/>
                  <a:gd name="T14" fmla="*/ 0 60000 65536"/>
                  <a:gd name="T15" fmla="*/ 0 w 44"/>
                  <a:gd name="T16" fmla="*/ 0 h 103"/>
                  <a:gd name="T17" fmla="*/ 44 w 44"/>
                  <a:gd name="T18" fmla="*/ 103 h 103"/>
                </a:gdLst>
                <a:ahLst/>
                <a:cxnLst>
                  <a:cxn ang="T10">
                    <a:pos x="T0" y="T1"/>
                  </a:cxn>
                  <a:cxn ang="T11">
                    <a:pos x="T2" y="T3"/>
                  </a:cxn>
                  <a:cxn ang="T12">
                    <a:pos x="T4" y="T5"/>
                  </a:cxn>
                  <a:cxn ang="T13">
                    <a:pos x="T6" y="T7"/>
                  </a:cxn>
                  <a:cxn ang="T14">
                    <a:pos x="T8" y="T9"/>
                  </a:cxn>
                </a:cxnLst>
                <a:rect l="T15" t="T16" r="T17" b="T18"/>
                <a:pathLst>
                  <a:path w="44" h="103">
                    <a:moveTo>
                      <a:pt x="0" y="28"/>
                    </a:moveTo>
                    <a:lnTo>
                      <a:pt x="26" y="0"/>
                    </a:lnTo>
                    <a:lnTo>
                      <a:pt x="44" y="17"/>
                    </a:lnTo>
                    <a:lnTo>
                      <a:pt x="32" y="103"/>
                    </a:lnTo>
                    <a:lnTo>
                      <a:pt x="0" y="28"/>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61" name="Freeform 91">
              <a:extLst>
                <a:ext uri="{FF2B5EF4-FFF2-40B4-BE49-F238E27FC236}">
                  <a16:creationId xmlns:a16="http://schemas.microsoft.com/office/drawing/2014/main" id="{9999D189-F293-4CC9-8047-583F9ADF0CAE}"/>
                </a:ext>
              </a:extLst>
            </p:cNvPr>
            <p:cNvSpPr>
              <a:spLocks/>
            </p:cNvSpPr>
            <p:nvPr/>
          </p:nvSpPr>
          <p:spPr bwMode="gray">
            <a:xfrm>
              <a:off x="4414104" y="2367573"/>
              <a:ext cx="434623" cy="429751"/>
            </a:xfrm>
            <a:custGeom>
              <a:avLst/>
              <a:gdLst>
                <a:gd name="T0" fmla="*/ 0 w 891"/>
                <a:gd name="T1" fmla="*/ 611 h 884"/>
                <a:gd name="T2" fmla="*/ 35 w 891"/>
                <a:gd name="T3" fmla="*/ 733 h 884"/>
                <a:gd name="T4" fmla="*/ 74 w 891"/>
                <a:gd name="T5" fmla="*/ 775 h 884"/>
                <a:gd name="T6" fmla="*/ 149 w 891"/>
                <a:gd name="T7" fmla="*/ 818 h 884"/>
                <a:gd name="T8" fmla="*/ 205 w 891"/>
                <a:gd name="T9" fmla="*/ 884 h 884"/>
                <a:gd name="T10" fmla="*/ 274 w 891"/>
                <a:gd name="T11" fmla="*/ 851 h 884"/>
                <a:gd name="T12" fmla="*/ 303 w 891"/>
                <a:gd name="T13" fmla="*/ 871 h 884"/>
                <a:gd name="T14" fmla="*/ 346 w 891"/>
                <a:gd name="T15" fmla="*/ 851 h 884"/>
                <a:gd name="T16" fmla="*/ 372 w 891"/>
                <a:gd name="T17" fmla="*/ 814 h 884"/>
                <a:gd name="T18" fmla="*/ 448 w 891"/>
                <a:gd name="T19" fmla="*/ 801 h 884"/>
                <a:gd name="T20" fmla="*/ 488 w 891"/>
                <a:gd name="T21" fmla="*/ 747 h 884"/>
                <a:gd name="T22" fmla="*/ 468 w 891"/>
                <a:gd name="T23" fmla="*/ 733 h 884"/>
                <a:gd name="T24" fmla="*/ 540 w 891"/>
                <a:gd name="T25" fmla="*/ 569 h 884"/>
                <a:gd name="T26" fmla="*/ 557 w 891"/>
                <a:gd name="T27" fmla="*/ 485 h 884"/>
                <a:gd name="T28" fmla="*/ 626 w 891"/>
                <a:gd name="T29" fmla="*/ 518 h 884"/>
                <a:gd name="T30" fmla="*/ 661 w 891"/>
                <a:gd name="T31" fmla="*/ 422 h 884"/>
                <a:gd name="T32" fmla="*/ 697 w 891"/>
                <a:gd name="T33" fmla="*/ 416 h 884"/>
                <a:gd name="T34" fmla="*/ 749 w 891"/>
                <a:gd name="T35" fmla="*/ 324 h 884"/>
                <a:gd name="T36" fmla="*/ 765 w 891"/>
                <a:gd name="T37" fmla="*/ 226 h 884"/>
                <a:gd name="T38" fmla="*/ 873 w 891"/>
                <a:gd name="T39" fmla="*/ 287 h 884"/>
                <a:gd name="T40" fmla="*/ 891 w 891"/>
                <a:gd name="T41" fmla="*/ 237 h 884"/>
                <a:gd name="T42" fmla="*/ 863 w 891"/>
                <a:gd name="T43" fmla="*/ 198 h 884"/>
                <a:gd name="T44" fmla="*/ 814 w 891"/>
                <a:gd name="T45" fmla="*/ 176 h 884"/>
                <a:gd name="T46" fmla="*/ 756 w 891"/>
                <a:gd name="T47" fmla="*/ 182 h 884"/>
                <a:gd name="T48" fmla="*/ 735 w 891"/>
                <a:gd name="T49" fmla="*/ 216 h 884"/>
                <a:gd name="T50" fmla="*/ 628 w 891"/>
                <a:gd name="T51" fmla="*/ 246 h 884"/>
                <a:gd name="T52" fmla="*/ 560 w 891"/>
                <a:gd name="T53" fmla="*/ 326 h 884"/>
                <a:gd name="T54" fmla="*/ 537 w 891"/>
                <a:gd name="T55" fmla="*/ 199 h 884"/>
                <a:gd name="T56" fmla="*/ 345 w 891"/>
                <a:gd name="T57" fmla="*/ 231 h 884"/>
                <a:gd name="T58" fmla="*/ 307 w 891"/>
                <a:gd name="T59" fmla="*/ 0 h 884"/>
                <a:gd name="T60" fmla="*/ 280 w 891"/>
                <a:gd name="T61" fmla="*/ 20 h 884"/>
                <a:gd name="T62" fmla="*/ 297 w 891"/>
                <a:gd name="T63" fmla="*/ 63 h 884"/>
                <a:gd name="T64" fmla="*/ 272 w 891"/>
                <a:gd name="T65" fmla="*/ 268 h 884"/>
                <a:gd name="T66" fmla="*/ 238 w 891"/>
                <a:gd name="T67" fmla="*/ 313 h 884"/>
                <a:gd name="T68" fmla="*/ 133 w 891"/>
                <a:gd name="T69" fmla="*/ 390 h 884"/>
                <a:gd name="T70" fmla="*/ 114 w 891"/>
                <a:gd name="T71" fmla="*/ 478 h 884"/>
                <a:gd name="T72" fmla="*/ 74 w 891"/>
                <a:gd name="T73" fmla="*/ 456 h 884"/>
                <a:gd name="T74" fmla="*/ 63 w 891"/>
                <a:gd name="T75" fmla="*/ 558 h 884"/>
                <a:gd name="T76" fmla="*/ 0 w 891"/>
                <a:gd name="T77" fmla="*/ 611 h 8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91"/>
                <a:gd name="T118" fmla="*/ 0 h 884"/>
                <a:gd name="T119" fmla="*/ 891 w 891"/>
                <a:gd name="T120" fmla="*/ 884 h 8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91" h="884">
                  <a:moveTo>
                    <a:pt x="0" y="611"/>
                  </a:moveTo>
                  <a:lnTo>
                    <a:pt x="35" y="733"/>
                  </a:lnTo>
                  <a:lnTo>
                    <a:pt x="74" y="775"/>
                  </a:lnTo>
                  <a:lnTo>
                    <a:pt x="149" y="818"/>
                  </a:lnTo>
                  <a:lnTo>
                    <a:pt x="205" y="884"/>
                  </a:lnTo>
                  <a:lnTo>
                    <a:pt x="274" y="851"/>
                  </a:lnTo>
                  <a:lnTo>
                    <a:pt x="303" y="871"/>
                  </a:lnTo>
                  <a:lnTo>
                    <a:pt x="346" y="851"/>
                  </a:lnTo>
                  <a:lnTo>
                    <a:pt x="372" y="814"/>
                  </a:lnTo>
                  <a:lnTo>
                    <a:pt x="448" y="801"/>
                  </a:lnTo>
                  <a:lnTo>
                    <a:pt x="488" y="747"/>
                  </a:lnTo>
                  <a:lnTo>
                    <a:pt x="468" y="733"/>
                  </a:lnTo>
                  <a:lnTo>
                    <a:pt x="540" y="569"/>
                  </a:lnTo>
                  <a:lnTo>
                    <a:pt x="557" y="485"/>
                  </a:lnTo>
                  <a:lnTo>
                    <a:pt x="626" y="518"/>
                  </a:lnTo>
                  <a:lnTo>
                    <a:pt x="661" y="422"/>
                  </a:lnTo>
                  <a:lnTo>
                    <a:pt x="697" y="416"/>
                  </a:lnTo>
                  <a:lnTo>
                    <a:pt x="749" y="324"/>
                  </a:lnTo>
                  <a:lnTo>
                    <a:pt x="765" y="226"/>
                  </a:lnTo>
                  <a:lnTo>
                    <a:pt x="873" y="287"/>
                  </a:lnTo>
                  <a:lnTo>
                    <a:pt x="891" y="237"/>
                  </a:lnTo>
                  <a:lnTo>
                    <a:pt x="863" y="198"/>
                  </a:lnTo>
                  <a:lnTo>
                    <a:pt x="814" y="176"/>
                  </a:lnTo>
                  <a:lnTo>
                    <a:pt x="756" y="182"/>
                  </a:lnTo>
                  <a:lnTo>
                    <a:pt x="735" y="216"/>
                  </a:lnTo>
                  <a:lnTo>
                    <a:pt x="628" y="246"/>
                  </a:lnTo>
                  <a:lnTo>
                    <a:pt x="560" y="326"/>
                  </a:lnTo>
                  <a:lnTo>
                    <a:pt x="537" y="199"/>
                  </a:lnTo>
                  <a:lnTo>
                    <a:pt x="345" y="231"/>
                  </a:lnTo>
                  <a:lnTo>
                    <a:pt x="307" y="0"/>
                  </a:lnTo>
                  <a:lnTo>
                    <a:pt x="280" y="20"/>
                  </a:lnTo>
                  <a:lnTo>
                    <a:pt x="297" y="63"/>
                  </a:lnTo>
                  <a:lnTo>
                    <a:pt x="272" y="268"/>
                  </a:lnTo>
                  <a:lnTo>
                    <a:pt x="238" y="313"/>
                  </a:lnTo>
                  <a:lnTo>
                    <a:pt x="133" y="390"/>
                  </a:lnTo>
                  <a:lnTo>
                    <a:pt x="114" y="478"/>
                  </a:lnTo>
                  <a:lnTo>
                    <a:pt x="74" y="456"/>
                  </a:lnTo>
                  <a:lnTo>
                    <a:pt x="63" y="558"/>
                  </a:lnTo>
                  <a:lnTo>
                    <a:pt x="0" y="61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2" name="Freeform 92">
              <a:extLst>
                <a:ext uri="{FF2B5EF4-FFF2-40B4-BE49-F238E27FC236}">
                  <a16:creationId xmlns:a16="http://schemas.microsoft.com/office/drawing/2014/main" id="{4835EC77-11CB-4C95-B297-F430A30D25B9}"/>
                </a:ext>
              </a:extLst>
            </p:cNvPr>
            <p:cNvSpPr>
              <a:spLocks/>
            </p:cNvSpPr>
            <p:nvPr/>
          </p:nvSpPr>
          <p:spPr bwMode="gray">
            <a:xfrm>
              <a:off x="3415251" y="1698099"/>
              <a:ext cx="510633" cy="538893"/>
            </a:xfrm>
            <a:custGeom>
              <a:avLst/>
              <a:gdLst>
                <a:gd name="T0" fmla="*/ 0 w 1049"/>
                <a:gd name="T1" fmla="*/ 337 h 1106"/>
                <a:gd name="T2" fmla="*/ 27 w 1049"/>
                <a:gd name="T3" fmla="*/ 422 h 1106"/>
                <a:gd name="T4" fmla="*/ 24 w 1049"/>
                <a:gd name="T5" fmla="*/ 558 h 1106"/>
                <a:gd name="T6" fmla="*/ 150 w 1049"/>
                <a:gd name="T7" fmla="*/ 637 h 1106"/>
                <a:gd name="T8" fmla="*/ 201 w 1049"/>
                <a:gd name="T9" fmla="*/ 693 h 1106"/>
                <a:gd name="T10" fmla="*/ 274 w 1049"/>
                <a:gd name="T11" fmla="*/ 740 h 1106"/>
                <a:gd name="T12" fmla="*/ 303 w 1049"/>
                <a:gd name="T13" fmla="*/ 773 h 1106"/>
                <a:gd name="T14" fmla="*/ 318 w 1049"/>
                <a:gd name="T15" fmla="*/ 863 h 1106"/>
                <a:gd name="T16" fmla="*/ 337 w 1049"/>
                <a:gd name="T17" fmla="*/ 989 h 1106"/>
                <a:gd name="T18" fmla="*/ 436 w 1049"/>
                <a:gd name="T19" fmla="*/ 1106 h 1106"/>
                <a:gd name="T20" fmla="*/ 957 w 1049"/>
                <a:gd name="T21" fmla="*/ 1073 h 1106"/>
                <a:gd name="T22" fmla="*/ 926 w 1049"/>
                <a:gd name="T23" fmla="*/ 902 h 1106"/>
                <a:gd name="T24" fmla="*/ 945 w 1049"/>
                <a:gd name="T25" fmla="*/ 724 h 1106"/>
                <a:gd name="T26" fmla="*/ 975 w 1049"/>
                <a:gd name="T27" fmla="*/ 645 h 1106"/>
                <a:gd name="T28" fmla="*/ 971 w 1049"/>
                <a:gd name="T29" fmla="*/ 573 h 1106"/>
                <a:gd name="T30" fmla="*/ 1037 w 1049"/>
                <a:gd name="T31" fmla="*/ 413 h 1106"/>
                <a:gd name="T32" fmla="*/ 1049 w 1049"/>
                <a:gd name="T33" fmla="*/ 371 h 1106"/>
                <a:gd name="T34" fmla="*/ 1029 w 1049"/>
                <a:gd name="T35" fmla="*/ 364 h 1106"/>
                <a:gd name="T36" fmla="*/ 1003 w 1049"/>
                <a:gd name="T37" fmla="*/ 397 h 1106"/>
                <a:gd name="T38" fmla="*/ 982 w 1049"/>
                <a:gd name="T39" fmla="*/ 481 h 1106"/>
                <a:gd name="T40" fmla="*/ 939 w 1049"/>
                <a:gd name="T41" fmla="*/ 488 h 1106"/>
                <a:gd name="T42" fmla="*/ 920 w 1049"/>
                <a:gd name="T43" fmla="*/ 537 h 1106"/>
                <a:gd name="T44" fmla="*/ 877 w 1049"/>
                <a:gd name="T45" fmla="*/ 571 h 1106"/>
                <a:gd name="T46" fmla="*/ 880 w 1049"/>
                <a:gd name="T47" fmla="*/ 518 h 1106"/>
                <a:gd name="T48" fmla="*/ 909 w 1049"/>
                <a:gd name="T49" fmla="*/ 461 h 1106"/>
                <a:gd name="T50" fmla="*/ 938 w 1049"/>
                <a:gd name="T51" fmla="*/ 444 h 1106"/>
                <a:gd name="T52" fmla="*/ 941 w 1049"/>
                <a:gd name="T53" fmla="*/ 421 h 1106"/>
                <a:gd name="T54" fmla="*/ 884 w 1049"/>
                <a:gd name="T55" fmla="*/ 268 h 1106"/>
                <a:gd name="T56" fmla="*/ 845 w 1049"/>
                <a:gd name="T57" fmla="*/ 257 h 1106"/>
                <a:gd name="T58" fmla="*/ 831 w 1049"/>
                <a:gd name="T59" fmla="*/ 221 h 1106"/>
                <a:gd name="T60" fmla="*/ 730 w 1049"/>
                <a:gd name="T61" fmla="*/ 209 h 1106"/>
                <a:gd name="T62" fmla="*/ 512 w 1049"/>
                <a:gd name="T63" fmla="*/ 153 h 1106"/>
                <a:gd name="T64" fmla="*/ 423 w 1049"/>
                <a:gd name="T65" fmla="*/ 90 h 1106"/>
                <a:gd name="T66" fmla="*/ 373 w 1049"/>
                <a:gd name="T67" fmla="*/ 68 h 1106"/>
                <a:gd name="T68" fmla="*/ 344 w 1049"/>
                <a:gd name="T69" fmla="*/ 89 h 1106"/>
                <a:gd name="T70" fmla="*/ 333 w 1049"/>
                <a:gd name="T71" fmla="*/ 84 h 1106"/>
                <a:gd name="T72" fmla="*/ 349 w 1049"/>
                <a:gd name="T73" fmla="*/ 68 h 1106"/>
                <a:gd name="T74" fmla="*/ 350 w 1049"/>
                <a:gd name="T75" fmla="*/ 38 h 1106"/>
                <a:gd name="T76" fmla="*/ 359 w 1049"/>
                <a:gd name="T77" fmla="*/ 30 h 1106"/>
                <a:gd name="T78" fmla="*/ 360 w 1049"/>
                <a:gd name="T79" fmla="*/ 8 h 1106"/>
                <a:gd name="T80" fmla="*/ 346 w 1049"/>
                <a:gd name="T81" fmla="*/ 0 h 1106"/>
                <a:gd name="T82" fmla="*/ 225 w 1049"/>
                <a:gd name="T83" fmla="*/ 56 h 1106"/>
                <a:gd name="T84" fmla="*/ 180 w 1049"/>
                <a:gd name="T85" fmla="*/ 73 h 1106"/>
                <a:gd name="T86" fmla="*/ 161 w 1049"/>
                <a:gd name="T87" fmla="*/ 76 h 1106"/>
                <a:gd name="T88" fmla="*/ 130 w 1049"/>
                <a:gd name="T89" fmla="*/ 59 h 1106"/>
                <a:gd name="T90" fmla="*/ 124 w 1049"/>
                <a:gd name="T91" fmla="*/ 73 h 1106"/>
                <a:gd name="T92" fmla="*/ 121 w 1049"/>
                <a:gd name="T93" fmla="*/ 58 h 1106"/>
                <a:gd name="T94" fmla="*/ 96 w 1049"/>
                <a:gd name="T95" fmla="*/ 79 h 1106"/>
                <a:gd name="T96" fmla="*/ 102 w 1049"/>
                <a:gd name="T97" fmla="*/ 207 h 1106"/>
                <a:gd name="T98" fmla="*/ 0 w 1049"/>
                <a:gd name="T99" fmla="*/ 337 h 11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49"/>
                <a:gd name="T151" fmla="*/ 0 h 1106"/>
                <a:gd name="T152" fmla="*/ 1049 w 1049"/>
                <a:gd name="T153" fmla="*/ 1106 h 11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49" h="1106">
                  <a:moveTo>
                    <a:pt x="0" y="337"/>
                  </a:moveTo>
                  <a:lnTo>
                    <a:pt x="27" y="422"/>
                  </a:lnTo>
                  <a:lnTo>
                    <a:pt x="24" y="558"/>
                  </a:lnTo>
                  <a:lnTo>
                    <a:pt x="150" y="637"/>
                  </a:lnTo>
                  <a:lnTo>
                    <a:pt x="201" y="693"/>
                  </a:lnTo>
                  <a:lnTo>
                    <a:pt x="274" y="740"/>
                  </a:lnTo>
                  <a:lnTo>
                    <a:pt x="303" y="773"/>
                  </a:lnTo>
                  <a:lnTo>
                    <a:pt x="318" y="863"/>
                  </a:lnTo>
                  <a:lnTo>
                    <a:pt x="337" y="989"/>
                  </a:lnTo>
                  <a:lnTo>
                    <a:pt x="436" y="1106"/>
                  </a:lnTo>
                  <a:lnTo>
                    <a:pt x="957" y="1073"/>
                  </a:lnTo>
                  <a:lnTo>
                    <a:pt x="926" y="902"/>
                  </a:lnTo>
                  <a:lnTo>
                    <a:pt x="945" y="724"/>
                  </a:lnTo>
                  <a:lnTo>
                    <a:pt x="975" y="645"/>
                  </a:lnTo>
                  <a:lnTo>
                    <a:pt x="971" y="573"/>
                  </a:lnTo>
                  <a:lnTo>
                    <a:pt x="1037" y="413"/>
                  </a:lnTo>
                  <a:lnTo>
                    <a:pt x="1049" y="371"/>
                  </a:lnTo>
                  <a:lnTo>
                    <a:pt x="1029" y="364"/>
                  </a:lnTo>
                  <a:lnTo>
                    <a:pt x="1003" y="397"/>
                  </a:lnTo>
                  <a:lnTo>
                    <a:pt x="982" y="481"/>
                  </a:lnTo>
                  <a:lnTo>
                    <a:pt x="939" y="488"/>
                  </a:lnTo>
                  <a:lnTo>
                    <a:pt x="920" y="537"/>
                  </a:lnTo>
                  <a:lnTo>
                    <a:pt x="877" y="571"/>
                  </a:lnTo>
                  <a:lnTo>
                    <a:pt x="880" y="518"/>
                  </a:lnTo>
                  <a:lnTo>
                    <a:pt x="909" y="461"/>
                  </a:lnTo>
                  <a:lnTo>
                    <a:pt x="938" y="444"/>
                  </a:lnTo>
                  <a:lnTo>
                    <a:pt x="941" y="421"/>
                  </a:lnTo>
                  <a:lnTo>
                    <a:pt x="884" y="268"/>
                  </a:lnTo>
                  <a:lnTo>
                    <a:pt x="845" y="257"/>
                  </a:lnTo>
                  <a:lnTo>
                    <a:pt x="831" y="221"/>
                  </a:lnTo>
                  <a:lnTo>
                    <a:pt x="730" y="209"/>
                  </a:lnTo>
                  <a:lnTo>
                    <a:pt x="512" y="153"/>
                  </a:lnTo>
                  <a:lnTo>
                    <a:pt x="423" y="90"/>
                  </a:lnTo>
                  <a:lnTo>
                    <a:pt x="373" y="68"/>
                  </a:lnTo>
                  <a:lnTo>
                    <a:pt x="344" y="89"/>
                  </a:lnTo>
                  <a:lnTo>
                    <a:pt x="333" y="84"/>
                  </a:lnTo>
                  <a:lnTo>
                    <a:pt x="349" y="68"/>
                  </a:lnTo>
                  <a:lnTo>
                    <a:pt x="350" y="38"/>
                  </a:lnTo>
                  <a:lnTo>
                    <a:pt x="359" y="30"/>
                  </a:lnTo>
                  <a:lnTo>
                    <a:pt x="360" y="8"/>
                  </a:lnTo>
                  <a:lnTo>
                    <a:pt x="346" y="0"/>
                  </a:lnTo>
                  <a:lnTo>
                    <a:pt x="225" y="56"/>
                  </a:lnTo>
                  <a:lnTo>
                    <a:pt x="180" y="73"/>
                  </a:lnTo>
                  <a:lnTo>
                    <a:pt x="161" y="76"/>
                  </a:lnTo>
                  <a:lnTo>
                    <a:pt x="130" y="59"/>
                  </a:lnTo>
                  <a:lnTo>
                    <a:pt x="124" y="73"/>
                  </a:lnTo>
                  <a:lnTo>
                    <a:pt x="121" y="58"/>
                  </a:lnTo>
                  <a:lnTo>
                    <a:pt x="96" y="79"/>
                  </a:lnTo>
                  <a:lnTo>
                    <a:pt x="102" y="207"/>
                  </a:lnTo>
                  <a:lnTo>
                    <a:pt x="0" y="337"/>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3" name="Freeform 93">
              <a:extLst>
                <a:ext uri="{FF2B5EF4-FFF2-40B4-BE49-F238E27FC236}">
                  <a16:creationId xmlns:a16="http://schemas.microsoft.com/office/drawing/2014/main" id="{CA26EA3B-5C8A-4153-B1D8-1480D659E0E3}"/>
                </a:ext>
              </a:extLst>
            </p:cNvPr>
            <p:cNvSpPr>
              <a:spLocks/>
            </p:cNvSpPr>
            <p:nvPr/>
          </p:nvSpPr>
          <p:spPr bwMode="gray">
            <a:xfrm>
              <a:off x="1776158" y="1834527"/>
              <a:ext cx="679220" cy="562281"/>
            </a:xfrm>
            <a:custGeom>
              <a:avLst/>
              <a:gdLst>
                <a:gd name="T0" fmla="*/ 0 w 1393"/>
                <a:gd name="T1" fmla="*/ 991 h 1154"/>
                <a:gd name="T2" fmla="*/ 42 w 1393"/>
                <a:gd name="T3" fmla="*/ 742 h 1154"/>
                <a:gd name="T4" fmla="*/ 142 w 1393"/>
                <a:gd name="T5" fmla="*/ 124 h 1154"/>
                <a:gd name="T6" fmla="*/ 164 w 1393"/>
                <a:gd name="T7" fmla="*/ 0 h 1154"/>
                <a:gd name="T8" fmla="*/ 715 w 1393"/>
                <a:gd name="T9" fmla="*/ 82 h 1154"/>
                <a:gd name="T10" fmla="*/ 1393 w 1393"/>
                <a:gd name="T11" fmla="*/ 154 h 1154"/>
                <a:gd name="T12" fmla="*/ 1347 w 1393"/>
                <a:gd name="T13" fmla="*/ 654 h 1154"/>
                <a:gd name="T14" fmla="*/ 1301 w 1393"/>
                <a:gd name="T15" fmla="*/ 1154 h 1154"/>
                <a:gd name="T16" fmla="*/ 371 w 1393"/>
                <a:gd name="T17" fmla="*/ 1048 h 1154"/>
                <a:gd name="T18" fmla="*/ 0 w 1393"/>
                <a:gd name="T19" fmla="*/ 991 h 11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93"/>
                <a:gd name="T31" fmla="*/ 0 h 1154"/>
                <a:gd name="T32" fmla="*/ 1393 w 1393"/>
                <a:gd name="T33" fmla="*/ 1154 h 11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93" h="1154">
                  <a:moveTo>
                    <a:pt x="0" y="991"/>
                  </a:moveTo>
                  <a:lnTo>
                    <a:pt x="42" y="742"/>
                  </a:lnTo>
                  <a:lnTo>
                    <a:pt x="142" y="124"/>
                  </a:lnTo>
                  <a:lnTo>
                    <a:pt x="164" y="0"/>
                  </a:lnTo>
                  <a:lnTo>
                    <a:pt x="715" y="82"/>
                  </a:lnTo>
                  <a:lnTo>
                    <a:pt x="1393" y="154"/>
                  </a:lnTo>
                  <a:lnTo>
                    <a:pt x="1347" y="654"/>
                  </a:lnTo>
                  <a:lnTo>
                    <a:pt x="1301" y="1154"/>
                  </a:lnTo>
                  <a:lnTo>
                    <a:pt x="371" y="1048"/>
                  </a:lnTo>
                  <a:lnTo>
                    <a:pt x="0" y="991"/>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4" name="Freeform 40">
              <a:extLst>
                <a:ext uri="{FF2B5EF4-FFF2-40B4-BE49-F238E27FC236}">
                  <a16:creationId xmlns:a16="http://schemas.microsoft.com/office/drawing/2014/main" id="{3F5327E1-1233-4811-8E2D-40C3A2BB83CF}"/>
                </a:ext>
              </a:extLst>
            </p:cNvPr>
            <p:cNvSpPr>
              <a:spLocks/>
            </p:cNvSpPr>
            <p:nvPr/>
          </p:nvSpPr>
          <p:spPr bwMode="gray">
            <a:xfrm>
              <a:off x="4172431" y="3090645"/>
              <a:ext cx="524276" cy="545715"/>
            </a:xfrm>
            <a:custGeom>
              <a:avLst/>
              <a:gdLst>
                <a:gd name="T0" fmla="*/ 0 w 1075"/>
                <a:gd name="T1" fmla="*/ 63 h 1121"/>
                <a:gd name="T2" fmla="*/ 142 w 1075"/>
                <a:gd name="T3" fmla="*/ 581 h 1121"/>
                <a:gd name="T4" fmla="*/ 195 w 1075"/>
                <a:gd name="T5" fmla="*/ 669 h 1121"/>
                <a:gd name="T6" fmla="*/ 214 w 1075"/>
                <a:gd name="T7" fmla="*/ 733 h 1121"/>
                <a:gd name="T8" fmla="*/ 191 w 1075"/>
                <a:gd name="T9" fmla="*/ 779 h 1121"/>
                <a:gd name="T10" fmla="*/ 183 w 1075"/>
                <a:gd name="T11" fmla="*/ 848 h 1121"/>
                <a:gd name="T12" fmla="*/ 230 w 1075"/>
                <a:gd name="T13" fmla="*/ 1043 h 1121"/>
                <a:gd name="T14" fmla="*/ 271 w 1075"/>
                <a:gd name="T15" fmla="*/ 1110 h 1121"/>
                <a:gd name="T16" fmla="*/ 841 w 1075"/>
                <a:gd name="T17" fmla="*/ 1076 h 1121"/>
                <a:gd name="T18" fmla="*/ 847 w 1075"/>
                <a:gd name="T19" fmla="*/ 1118 h 1121"/>
                <a:gd name="T20" fmla="*/ 884 w 1075"/>
                <a:gd name="T21" fmla="*/ 1121 h 1121"/>
                <a:gd name="T22" fmla="*/ 870 w 1075"/>
                <a:gd name="T23" fmla="*/ 1029 h 1121"/>
                <a:gd name="T24" fmla="*/ 892 w 1075"/>
                <a:gd name="T25" fmla="*/ 1002 h 1121"/>
                <a:gd name="T26" fmla="*/ 976 w 1075"/>
                <a:gd name="T27" fmla="*/ 1017 h 1121"/>
                <a:gd name="T28" fmla="*/ 989 w 1075"/>
                <a:gd name="T29" fmla="*/ 954 h 1121"/>
                <a:gd name="T30" fmla="*/ 976 w 1075"/>
                <a:gd name="T31" fmla="*/ 949 h 1121"/>
                <a:gd name="T32" fmla="*/ 995 w 1075"/>
                <a:gd name="T33" fmla="*/ 932 h 1121"/>
                <a:gd name="T34" fmla="*/ 964 w 1075"/>
                <a:gd name="T35" fmla="*/ 915 h 1121"/>
                <a:gd name="T36" fmla="*/ 982 w 1075"/>
                <a:gd name="T37" fmla="*/ 895 h 1121"/>
                <a:gd name="T38" fmla="*/ 978 w 1075"/>
                <a:gd name="T39" fmla="*/ 863 h 1121"/>
                <a:gd name="T40" fmla="*/ 1015 w 1075"/>
                <a:gd name="T41" fmla="*/ 839 h 1121"/>
                <a:gd name="T42" fmla="*/ 1002 w 1075"/>
                <a:gd name="T43" fmla="*/ 806 h 1121"/>
                <a:gd name="T44" fmla="*/ 1021 w 1075"/>
                <a:gd name="T45" fmla="*/ 794 h 1121"/>
                <a:gd name="T46" fmla="*/ 1029 w 1075"/>
                <a:gd name="T47" fmla="*/ 766 h 1121"/>
                <a:gd name="T48" fmla="*/ 1014 w 1075"/>
                <a:gd name="T49" fmla="*/ 755 h 1121"/>
                <a:gd name="T50" fmla="*/ 1042 w 1075"/>
                <a:gd name="T51" fmla="*/ 731 h 1121"/>
                <a:gd name="T52" fmla="*/ 1029 w 1075"/>
                <a:gd name="T53" fmla="*/ 713 h 1121"/>
                <a:gd name="T54" fmla="*/ 1052 w 1075"/>
                <a:gd name="T55" fmla="*/ 713 h 1121"/>
                <a:gd name="T56" fmla="*/ 1075 w 1075"/>
                <a:gd name="T57" fmla="*/ 678 h 1121"/>
                <a:gd name="T58" fmla="*/ 1067 w 1075"/>
                <a:gd name="T59" fmla="*/ 669 h 1121"/>
                <a:gd name="T60" fmla="*/ 1030 w 1075"/>
                <a:gd name="T61" fmla="*/ 662 h 1121"/>
                <a:gd name="T62" fmla="*/ 1006 w 1075"/>
                <a:gd name="T63" fmla="*/ 631 h 1121"/>
                <a:gd name="T64" fmla="*/ 963 w 1075"/>
                <a:gd name="T65" fmla="*/ 554 h 1121"/>
                <a:gd name="T66" fmla="*/ 939 w 1075"/>
                <a:gd name="T67" fmla="*/ 544 h 1121"/>
                <a:gd name="T68" fmla="*/ 891 w 1075"/>
                <a:gd name="T69" fmla="*/ 442 h 1121"/>
                <a:gd name="T70" fmla="*/ 821 w 1075"/>
                <a:gd name="T71" fmla="*/ 399 h 1121"/>
                <a:gd name="T72" fmla="*/ 772 w 1075"/>
                <a:gd name="T73" fmla="*/ 330 h 1121"/>
                <a:gd name="T74" fmla="*/ 651 w 1075"/>
                <a:gd name="T75" fmla="*/ 242 h 1121"/>
                <a:gd name="T76" fmla="*/ 593 w 1075"/>
                <a:gd name="T77" fmla="*/ 163 h 1121"/>
                <a:gd name="T78" fmla="*/ 463 w 1075"/>
                <a:gd name="T79" fmla="*/ 78 h 1121"/>
                <a:gd name="T80" fmla="*/ 505 w 1075"/>
                <a:gd name="T81" fmla="*/ 0 h 1121"/>
                <a:gd name="T82" fmla="*/ 260 w 1075"/>
                <a:gd name="T83" fmla="*/ 30 h 1121"/>
                <a:gd name="T84" fmla="*/ 0 w 1075"/>
                <a:gd name="T85" fmla="*/ 63 h 1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5"/>
                <a:gd name="T130" fmla="*/ 0 h 1121"/>
                <a:gd name="T131" fmla="*/ 1075 w 1075"/>
                <a:gd name="T132" fmla="*/ 1121 h 11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5" h="1121">
                  <a:moveTo>
                    <a:pt x="0" y="63"/>
                  </a:moveTo>
                  <a:lnTo>
                    <a:pt x="142" y="581"/>
                  </a:lnTo>
                  <a:lnTo>
                    <a:pt x="195" y="669"/>
                  </a:lnTo>
                  <a:lnTo>
                    <a:pt x="214" y="733"/>
                  </a:lnTo>
                  <a:lnTo>
                    <a:pt x="191" y="779"/>
                  </a:lnTo>
                  <a:lnTo>
                    <a:pt x="183" y="848"/>
                  </a:lnTo>
                  <a:lnTo>
                    <a:pt x="230" y="1043"/>
                  </a:lnTo>
                  <a:lnTo>
                    <a:pt x="271" y="1110"/>
                  </a:lnTo>
                  <a:lnTo>
                    <a:pt x="841" y="1076"/>
                  </a:lnTo>
                  <a:lnTo>
                    <a:pt x="847" y="1118"/>
                  </a:lnTo>
                  <a:lnTo>
                    <a:pt x="884" y="1121"/>
                  </a:lnTo>
                  <a:lnTo>
                    <a:pt x="870" y="1029"/>
                  </a:lnTo>
                  <a:lnTo>
                    <a:pt x="892" y="1002"/>
                  </a:lnTo>
                  <a:lnTo>
                    <a:pt x="976" y="1017"/>
                  </a:lnTo>
                  <a:lnTo>
                    <a:pt x="989" y="954"/>
                  </a:lnTo>
                  <a:lnTo>
                    <a:pt x="976" y="949"/>
                  </a:lnTo>
                  <a:lnTo>
                    <a:pt x="995" y="932"/>
                  </a:lnTo>
                  <a:lnTo>
                    <a:pt x="964" y="915"/>
                  </a:lnTo>
                  <a:lnTo>
                    <a:pt x="982" y="895"/>
                  </a:lnTo>
                  <a:lnTo>
                    <a:pt x="978" y="863"/>
                  </a:lnTo>
                  <a:lnTo>
                    <a:pt x="1015" y="839"/>
                  </a:lnTo>
                  <a:lnTo>
                    <a:pt x="1002" y="806"/>
                  </a:lnTo>
                  <a:lnTo>
                    <a:pt x="1021" y="794"/>
                  </a:lnTo>
                  <a:lnTo>
                    <a:pt x="1029" y="766"/>
                  </a:lnTo>
                  <a:lnTo>
                    <a:pt x="1014" y="755"/>
                  </a:lnTo>
                  <a:lnTo>
                    <a:pt x="1042" y="731"/>
                  </a:lnTo>
                  <a:lnTo>
                    <a:pt x="1029" y="713"/>
                  </a:lnTo>
                  <a:lnTo>
                    <a:pt x="1052" y="713"/>
                  </a:lnTo>
                  <a:lnTo>
                    <a:pt x="1075" y="678"/>
                  </a:lnTo>
                  <a:lnTo>
                    <a:pt x="1067" y="669"/>
                  </a:lnTo>
                  <a:lnTo>
                    <a:pt x="1030" y="662"/>
                  </a:lnTo>
                  <a:lnTo>
                    <a:pt x="1006" y="631"/>
                  </a:lnTo>
                  <a:lnTo>
                    <a:pt x="963" y="554"/>
                  </a:lnTo>
                  <a:lnTo>
                    <a:pt x="939" y="544"/>
                  </a:lnTo>
                  <a:lnTo>
                    <a:pt x="891" y="442"/>
                  </a:lnTo>
                  <a:lnTo>
                    <a:pt x="821" y="399"/>
                  </a:lnTo>
                  <a:lnTo>
                    <a:pt x="772" y="330"/>
                  </a:lnTo>
                  <a:lnTo>
                    <a:pt x="651" y="242"/>
                  </a:lnTo>
                  <a:lnTo>
                    <a:pt x="593" y="163"/>
                  </a:lnTo>
                  <a:lnTo>
                    <a:pt x="463" y="78"/>
                  </a:lnTo>
                  <a:lnTo>
                    <a:pt x="505" y="0"/>
                  </a:lnTo>
                  <a:lnTo>
                    <a:pt x="260" y="30"/>
                  </a:lnTo>
                  <a:lnTo>
                    <a:pt x="0" y="63"/>
                  </a:lnTo>
                  <a:close/>
                </a:path>
              </a:pathLst>
            </a:custGeom>
            <a:grpFill/>
            <a:ln w="1270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96" name="Line Callout 1 25">
            <a:extLst>
              <a:ext uri="{FF2B5EF4-FFF2-40B4-BE49-F238E27FC236}">
                <a16:creationId xmlns:a16="http://schemas.microsoft.com/office/drawing/2014/main" id="{E2B5CF84-1593-4559-A2D3-650C23389AD6}"/>
              </a:ext>
            </a:extLst>
          </p:cNvPr>
          <p:cNvSpPr/>
          <p:nvPr/>
        </p:nvSpPr>
        <p:spPr bwMode="gray">
          <a:xfrm flipH="1">
            <a:off x="7868753" y="1762418"/>
            <a:ext cx="1590979" cy="993678"/>
          </a:xfrm>
          <a:prstGeom prst="borderCallout1">
            <a:avLst>
              <a:gd name="adj1" fmla="val 100573"/>
              <a:gd name="adj2" fmla="val 91622"/>
              <a:gd name="adj3" fmla="val 196526"/>
              <a:gd name="adj4" fmla="val 91933"/>
            </a:avLst>
          </a:prstGeom>
          <a:solidFill>
            <a:schemeClr val="bg1"/>
          </a:solidFill>
          <a:ln w="19050" cap="flat" cmpd="sng" algn="ctr">
            <a:solidFill>
              <a:schemeClr val="accent1"/>
            </a:solidFill>
            <a:prstDash val="solid"/>
            <a:miter lim="800000"/>
            <a:headEnd type="none" w="med" len="med"/>
            <a:tailEnd type="oval" w="med" len="med"/>
          </a:ln>
          <a:effectLst/>
        </p:spPr>
        <p:txBody>
          <a:bodyPr vert="horz" wrap="square" lIns="130629" tIns="65314" rIns="130629" bIns="65314"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t>Detroit: </a:t>
            </a: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40% </a:t>
            </a:r>
            <a:b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of households are completely  offline</a:t>
            </a:r>
          </a:p>
        </p:txBody>
      </p:sp>
      <p:sp>
        <p:nvSpPr>
          <p:cNvPr id="100" name="Line Callout 1 25">
            <a:extLst>
              <a:ext uri="{FF2B5EF4-FFF2-40B4-BE49-F238E27FC236}">
                <a16:creationId xmlns:a16="http://schemas.microsoft.com/office/drawing/2014/main" id="{4B3F028F-C22C-4114-9259-0B07DDD94782}"/>
              </a:ext>
            </a:extLst>
          </p:cNvPr>
          <p:cNvSpPr/>
          <p:nvPr/>
        </p:nvSpPr>
        <p:spPr bwMode="gray">
          <a:xfrm rot="16200000">
            <a:off x="1941925" y="3279324"/>
            <a:ext cx="861955" cy="2517675"/>
          </a:xfrm>
          <a:prstGeom prst="borderCallout1">
            <a:avLst>
              <a:gd name="adj1" fmla="val 100573"/>
              <a:gd name="adj2" fmla="val 91622"/>
              <a:gd name="adj3" fmla="val 194160"/>
              <a:gd name="adj4" fmla="val 90675"/>
            </a:avLst>
          </a:prstGeom>
          <a:solidFill>
            <a:schemeClr val="bg1"/>
          </a:solidFill>
          <a:ln w="19050" cap="flat" cmpd="sng" algn="ctr">
            <a:solidFill>
              <a:schemeClr val="accent1"/>
            </a:solidFill>
            <a:prstDash val="solid"/>
            <a:miter lim="800000"/>
            <a:headEnd type="none" w="med" len="med"/>
            <a:tailEnd type="oval" w="med" len="med"/>
          </a:ln>
          <a:effectLst/>
        </p:spPr>
        <p:txBody>
          <a:bodyPr vert="horz" wrap="square" lIns="130629" tIns="65314" rIns="130629" bIns="65314"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01" name="Line Callout 1 25">
            <a:extLst>
              <a:ext uri="{FF2B5EF4-FFF2-40B4-BE49-F238E27FC236}">
                <a16:creationId xmlns:a16="http://schemas.microsoft.com/office/drawing/2014/main" id="{67626484-87D3-4A44-93DF-90723DC2EC19}"/>
              </a:ext>
            </a:extLst>
          </p:cNvPr>
          <p:cNvSpPr/>
          <p:nvPr/>
        </p:nvSpPr>
        <p:spPr bwMode="gray">
          <a:xfrm>
            <a:off x="6111486" y="1760921"/>
            <a:ext cx="1590979" cy="993678"/>
          </a:xfrm>
          <a:prstGeom prst="borderCallout1">
            <a:avLst>
              <a:gd name="adj1" fmla="val 100573"/>
              <a:gd name="adj2" fmla="val 91622"/>
              <a:gd name="adj3" fmla="val 202503"/>
              <a:gd name="adj4" fmla="val 91993"/>
            </a:avLst>
          </a:prstGeom>
          <a:solidFill>
            <a:schemeClr val="bg1"/>
          </a:solidFill>
          <a:ln w="19050" cap="flat" cmpd="sng" algn="ctr">
            <a:solidFill>
              <a:schemeClr val="accent1"/>
            </a:solidFill>
            <a:prstDash val="solid"/>
            <a:miter lim="800000"/>
            <a:headEnd type="none" w="med" len="med"/>
            <a:tailEnd type="oval" w="med" len="med"/>
          </a:ln>
          <a:effectLst/>
        </p:spPr>
        <p:txBody>
          <a:bodyPr vert="horz" wrap="square" lIns="130629" tIns="65314" rIns="130629" bIns="65314"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t>Chicago: </a:t>
            </a:r>
            <a:b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20% of children under 18 lack broadband </a:t>
            </a:r>
          </a:p>
        </p:txBody>
      </p:sp>
      <p:sp>
        <p:nvSpPr>
          <p:cNvPr id="6" name="TextBox 5">
            <a:extLst>
              <a:ext uri="{FF2B5EF4-FFF2-40B4-BE49-F238E27FC236}">
                <a16:creationId xmlns:a16="http://schemas.microsoft.com/office/drawing/2014/main" id="{296B32EB-0C5B-437D-9E49-050368B44156}"/>
              </a:ext>
            </a:extLst>
          </p:cNvPr>
          <p:cNvSpPr txBox="1"/>
          <p:nvPr/>
        </p:nvSpPr>
        <p:spPr bwMode="gray">
          <a:xfrm>
            <a:off x="1296753" y="4200024"/>
            <a:ext cx="2154850" cy="95410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t>Denver: </a:t>
            </a: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20% of residents do not have high-speed internet access</a:t>
            </a:r>
          </a:p>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8" name="Line Callout 1 25">
            <a:extLst>
              <a:ext uri="{FF2B5EF4-FFF2-40B4-BE49-F238E27FC236}">
                <a16:creationId xmlns:a16="http://schemas.microsoft.com/office/drawing/2014/main" id="{172B6778-AD85-40FC-8DD9-91BC8EE62722}"/>
              </a:ext>
            </a:extLst>
          </p:cNvPr>
          <p:cNvSpPr/>
          <p:nvPr/>
        </p:nvSpPr>
        <p:spPr bwMode="gray">
          <a:xfrm rot="16200000">
            <a:off x="2058707" y="4377905"/>
            <a:ext cx="622198" cy="2523869"/>
          </a:xfrm>
          <a:prstGeom prst="borderCallout1">
            <a:avLst>
              <a:gd name="adj1" fmla="val 100573"/>
              <a:gd name="adj2" fmla="val 91622"/>
              <a:gd name="adj3" fmla="val 216908"/>
              <a:gd name="adj4" fmla="val 93231"/>
            </a:avLst>
          </a:prstGeom>
          <a:solidFill>
            <a:schemeClr val="bg1"/>
          </a:solidFill>
          <a:ln w="19050" cap="flat" cmpd="sng" algn="ctr">
            <a:solidFill>
              <a:schemeClr val="accent1"/>
            </a:solidFill>
            <a:prstDash val="solid"/>
            <a:miter lim="800000"/>
            <a:headEnd type="none" w="med" len="med"/>
            <a:tailEnd type="oval" w="med" len="med"/>
          </a:ln>
          <a:effectLst/>
        </p:spPr>
        <p:txBody>
          <a:bodyPr vert="horz" wrap="square" lIns="130629" tIns="65314" rIns="130629" bIns="65314"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60E41A57-E36D-4BFD-926F-82F6A24EEA27}"/>
              </a:ext>
            </a:extLst>
          </p:cNvPr>
          <p:cNvSpPr txBox="1"/>
          <p:nvPr/>
        </p:nvSpPr>
        <p:spPr bwMode="gray">
          <a:xfrm>
            <a:off x="1284193" y="5413441"/>
            <a:ext cx="2215452" cy="738664"/>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t>San Antonio: </a:t>
            </a: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miles of unconnected “dark cable” </a:t>
            </a:r>
          </a:p>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102" name="Line Callout 1 25">
            <a:extLst>
              <a:ext uri="{FF2B5EF4-FFF2-40B4-BE49-F238E27FC236}">
                <a16:creationId xmlns:a16="http://schemas.microsoft.com/office/drawing/2014/main" id="{EA17BB58-0441-4AE1-9B6B-F21F08E71582}"/>
              </a:ext>
            </a:extLst>
          </p:cNvPr>
          <p:cNvSpPr/>
          <p:nvPr/>
        </p:nvSpPr>
        <p:spPr bwMode="gray">
          <a:xfrm rot="5400000" flipH="1">
            <a:off x="9575042" y="3673102"/>
            <a:ext cx="1134910" cy="1223484"/>
          </a:xfrm>
          <a:prstGeom prst="borderCallout1">
            <a:avLst>
              <a:gd name="adj1" fmla="val 100573"/>
              <a:gd name="adj2" fmla="val 91622"/>
              <a:gd name="adj3" fmla="val 160508"/>
              <a:gd name="adj4" fmla="val 90962"/>
            </a:avLst>
          </a:prstGeom>
          <a:solidFill>
            <a:schemeClr val="bg1"/>
          </a:solidFill>
          <a:ln w="19050" cap="flat" cmpd="sng" algn="ctr">
            <a:solidFill>
              <a:schemeClr val="accent1"/>
            </a:solidFill>
            <a:prstDash val="solid"/>
            <a:miter lim="800000"/>
            <a:headEnd type="none" w="med" len="med"/>
            <a:tailEnd type="oval" w="med" len="med"/>
          </a:ln>
          <a:effectLst/>
        </p:spPr>
        <p:txBody>
          <a:bodyPr vert="horz" wrap="square" lIns="130629" tIns="65314" rIns="130629" bIns="65314"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429"/>
              </a:spcBef>
              <a:spcAft>
                <a:spcPts val="0"/>
              </a:spcAft>
              <a:buClrTx/>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BBD6600C-745E-4019-8D2F-DD84C1BB3F09}"/>
              </a:ext>
            </a:extLst>
          </p:cNvPr>
          <p:cNvSpPr txBox="1"/>
          <p:nvPr/>
        </p:nvSpPr>
        <p:spPr bwMode="gray">
          <a:xfrm>
            <a:off x="9620836" y="3789164"/>
            <a:ext cx="1084001" cy="116955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r>
              <a:rPr kumimoji="0" lang="en-US" sz="1400" b="1" i="0" u="none" strike="noStrike" kern="1200" cap="none" spc="0" normalizeH="0" baseline="0" noProof="0">
                <a:ln>
                  <a:noFill/>
                </a:ln>
                <a:solidFill>
                  <a:srgbClr val="323E48"/>
                </a:solidFill>
                <a:effectLst/>
                <a:uLnTx/>
                <a:uFillTx/>
                <a:latin typeface="Arial" panose="020B0604020202020204"/>
                <a:ea typeface="+mn-ea"/>
                <a:cs typeface="+mn-cs"/>
              </a:rPr>
              <a:t>New York: </a:t>
            </a:r>
            <a:r>
              <a:rPr kumimoji="0" lang="en-US" sz="1400" b="0" i="0" u="none" strike="noStrike" kern="1200" cap="none" spc="0" normalizeH="0" baseline="0" noProof="0">
                <a:ln>
                  <a:noFill/>
                </a:ln>
                <a:solidFill>
                  <a:srgbClr val="323E48"/>
                </a:solidFill>
                <a:effectLst/>
                <a:uLnTx/>
                <a:uFillTx/>
                <a:latin typeface="Arial" panose="020B0604020202020204"/>
                <a:ea typeface="+mn-ea"/>
                <a:cs typeface="+mn-cs"/>
              </a:rPr>
              <a:t>2.2 million lack broadband</a:t>
            </a:r>
          </a:p>
          <a:p>
            <a:pPr marL="0" marR="0" lvl="0" indent="0" algn="l" defTabSz="914400" rtl="0" eaLnBrk="1" fontAlgn="auto" latinLnBrk="0" hangingPunct="1">
              <a:lnSpc>
                <a:spcPct val="100000"/>
              </a:lnSpc>
              <a:spcBef>
                <a:spcPts val="600"/>
              </a:spcBef>
              <a:spcAft>
                <a:spcPts val="0"/>
              </a:spcAft>
              <a:buClr>
                <a:srgbClr val="CE0E2D"/>
              </a:buClr>
              <a:buSzTx/>
              <a:buFontTx/>
              <a:buNone/>
              <a:tabLst/>
              <a:defRPr/>
            </a:pPr>
            <a:endParaRPr kumimoji="0" lang="en-US" sz="1500" b="0" i="0" u="none" strike="noStrike" kern="1200" cap="none" spc="0" normalizeH="0" baseline="0" noProof="0">
              <a:ln>
                <a:noFill/>
              </a:ln>
              <a:solidFill>
                <a:srgbClr val="323E48"/>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3072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kr8tXlBJUUqNqiZ0I49k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m87izk5wZEaI8uX52B.6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RrtJ3DyPkaPTXz_h8rX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SzKWwx0rh06WHTbH37BI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Pha5Sjq.kKF5pImzvzTYQ"/>
</p:tagLst>
</file>

<file path=ppt/theme/theme1.xml><?xml version="1.0" encoding="utf-8"?>
<a:theme xmlns:a="http://schemas.openxmlformats.org/drawingml/2006/main" name="ab1 projection 16x9">
  <a:themeElements>
    <a:clrScheme name="Advisory Board 2020 Theme">
      <a:dk1>
        <a:srgbClr val="323E48"/>
      </a:dk1>
      <a:lt1>
        <a:srgbClr val="FFFFFF"/>
      </a:lt1>
      <a:dk2>
        <a:srgbClr val="FFFFFF"/>
      </a:dk2>
      <a:lt2>
        <a:srgbClr val="E5E5E5"/>
      </a:lt2>
      <a:accent1>
        <a:srgbClr val="D6D9DA"/>
      </a:accent1>
      <a:accent2>
        <a:srgbClr val="999FA3"/>
      </a:accent2>
      <a:accent3>
        <a:srgbClr val="70787E"/>
      </a:accent3>
      <a:accent4>
        <a:srgbClr val="445460"/>
      </a:accent4>
      <a:accent5>
        <a:srgbClr val="222A30"/>
      </a:accent5>
      <a:accent6>
        <a:srgbClr val="CE0E2D"/>
      </a:accent6>
      <a:hlink>
        <a:srgbClr val="323E48"/>
      </a:hlink>
      <a:folHlink>
        <a:srgbClr val="75757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190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accent2"/>
          </a:solidFill>
          <a:headEnd type="none" w="med" len="med"/>
          <a:tailEnd w="med" len="med"/>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spAutoFit/>
      </a:bodyPr>
      <a:lstStyle>
        <a:defPPr>
          <a:spcBef>
            <a:spcPts val="600"/>
          </a:spcBef>
          <a:buClr>
            <a:schemeClr val="accent6"/>
          </a:buClr>
          <a:defRPr sz="1500" dirty="0" err="1" smtClean="0"/>
        </a:defPPr>
      </a:lstStyle>
    </a:txDef>
  </a:objectDefaults>
  <a:extraClrSchemeLst/>
  <a:custClrLst>
    <a:custClr name="Data Viz 1">
      <a:srgbClr val="D6D9DA"/>
    </a:custClr>
    <a:custClr name="Data Viz 2">
      <a:srgbClr val="7C99AE"/>
    </a:custClr>
    <a:custClr name="Data Viz 3">
      <a:srgbClr val="667E90"/>
    </a:custClr>
    <a:custClr name="Data Viz 4">
      <a:srgbClr val="445460"/>
    </a:custClr>
    <a:custClr name="Data Viz 5">
      <a:srgbClr val="222A30"/>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Teal">
      <a:srgbClr val="00AEA1"/>
    </a:custClr>
    <a:custClr name="Blue">
      <a:srgbClr val="0071BB"/>
    </a:custClr>
    <a:custClr name="Green">
      <a:srgbClr val="00A253"/>
    </a:custClr>
    <a:custClr name="Purple">
      <a:srgbClr val="5736F7"/>
    </a:custClr>
    <a:custClr name="Orange">
      <a:srgbClr val="FC5027"/>
    </a:custClr>
    <a:custClr name="Yellow">
      <a:srgbClr val="FFFF51"/>
    </a:custClr>
    <a:custClr name="Error Red">
      <a:srgbClr val="EE0000"/>
    </a:custClr>
    <a:custClr name="Unused">
      <a:srgbClr val="FFFFFF"/>
    </a:custClr>
    <a:custClr name="Unused">
      <a:srgbClr val="FFFFFF"/>
    </a:custClr>
    <a:custClr name="Unused">
      <a:srgbClr val="FFFFFF"/>
    </a:custClr>
    <a:custClr name="Teal Tint">
      <a:srgbClr val="B4FBF6"/>
    </a:custClr>
    <a:custClr name="Blue Tint">
      <a:srgbClr val="64BAF3"/>
    </a:custClr>
    <a:custClr name="Green Tint">
      <a:srgbClr val="5CFFAF"/>
    </a:custClr>
    <a:custClr name="Purple Tint">
      <a:srgbClr val="9999FC"/>
    </a:custClr>
    <a:custClr name="Orange Tint">
      <a:srgbClr val="FFAE9B"/>
    </a:custClr>
    <a:custClr name="Unused">
      <a:srgbClr val="FFFFFF"/>
    </a:custClr>
    <a:custClr name="Unused">
      <a:srgbClr val="FFFFFF"/>
    </a:custClr>
    <a:custClr name="Unused">
      <a:srgbClr val="FFFFFF"/>
    </a:custClr>
    <a:custClr name="Unused">
      <a:srgbClr val="FFFFFF"/>
    </a:custClr>
    <a:custClr name="Unused">
      <a:srgbClr val="FFFFFF"/>
    </a:custClr>
  </a:custClrLst>
  <a:extLst>
    <a:ext uri="{05A4C25C-085E-4340-85A3-A5531E510DB2}">
      <thm15:themeFamily xmlns:thm15="http://schemas.microsoft.com/office/thememl/2012/main" name="ab1-projection-16x9-010121.potx" id="{3F40D36E-2BFD-4D92-88FE-5AF621458836}" vid="{DEDD86C9-F05F-4350-A325-9DA8EF991D01}"/>
    </a:ext>
  </a:extLst>
</a:theme>
</file>

<file path=ppt/theme/theme2.xml><?xml version="1.0" encoding="utf-8"?>
<a:theme xmlns:a="http://schemas.openxmlformats.org/drawingml/2006/main" name="1_ab1 projection 16x9">
  <a:themeElements>
    <a:clrScheme name="Advisory Board 2020 Theme">
      <a:dk1>
        <a:srgbClr val="323E48"/>
      </a:dk1>
      <a:lt1>
        <a:srgbClr val="FFFFFF"/>
      </a:lt1>
      <a:dk2>
        <a:srgbClr val="FFFFFF"/>
      </a:dk2>
      <a:lt2>
        <a:srgbClr val="E5E5E5"/>
      </a:lt2>
      <a:accent1>
        <a:srgbClr val="D6D9DA"/>
      </a:accent1>
      <a:accent2>
        <a:srgbClr val="999FA3"/>
      </a:accent2>
      <a:accent3>
        <a:srgbClr val="70787E"/>
      </a:accent3>
      <a:accent4>
        <a:srgbClr val="445460"/>
      </a:accent4>
      <a:accent5>
        <a:srgbClr val="222A30"/>
      </a:accent5>
      <a:accent6>
        <a:srgbClr val="CE0E2D"/>
      </a:accent6>
      <a:hlink>
        <a:srgbClr val="323E48"/>
      </a:hlink>
      <a:folHlink>
        <a:srgbClr val="75757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19050" cap="flat" cmpd="sng" algn="ctr">
          <a:solidFill>
            <a:schemeClr val="accent1"/>
          </a:solidFill>
          <a:prstDash val="solid"/>
          <a:miter lim="800000"/>
          <a:headEnd type="none" w="med" len="med"/>
          <a:tailEnd type="oval" w="med" len="med"/>
        </a:ln>
        <a:effectLst/>
      </a:spPr>
      <a:bodyPr vert="horz" wrap="square" lIns="130629" tIns="65314" rIns="130629" bIns="65314" numCol="1" rtlCol="0" anchor="t" anchorCtr="0" compatLnSpc="1">
        <a:prstTxWarp prst="textNoShape">
          <a:avLst/>
        </a:prstTxWarp>
        <a:spAutoFit/>
      </a:bodyPr>
      <a:lstStyle>
        <a:defPPr algn="l">
          <a:spcBef>
            <a:spcPts val="429"/>
          </a:spcBef>
          <a:defRPr sz="1500" b="1" dirty="0"/>
        </a:defPPr>
      </a:lstStyle>
    </a:spDef>
    <a:lnDef>
      <a:spPr bwMode="gray">
        <a:ln w="19050">
          <a:solidFill>
            <a:schemeClr val="accent2"/>
          </a:solidFill>
          <a:headEnd type="none" w="med" len="med"/>
          <a:tailEnd w="med" len="med"/>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spAutoFit/>
      </a:bodyPr>
      <a:lstStyle>
        <a:defPPr>
          <a:spcBef>
            <a:spcPts val="600"/>
          </a:spcBef>
          <a:buClr>
            <a:schemeClr val="accent6"/>
          </a:buClr>
          <a:defRPr sz="1500" dirty="0" err="1" smtClean="0"/>
        </a:defPPr>
      </a:lstStyle>
    </a:txDef>
  </a:objectDefaults>
  <a:extraClrSchemeLst/>
  <a:custClrLst>
    <a:custClr name="Data Viz 1">
      <a:srgbClr val="D6D9DA"/>
    </a:custClr>
    <a:custClr name="Data Viz 2">
      <a:srgbClr val="7C99AE"/>
    </a:custClr>
    <a:custClr name="Data Viz 3">
      <a:srgbClr val="667E90"/>
    </a:custClr>
    <a:custClr name="Data Viz 4">
      <a:srgbClr val="445460"/>
    </a:custClr>
    <a:custClr name="Data Viz 5">
      <a:srgbClr val="222A30"/>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Unused">
      <a:srgbClr val="FFFFFF"/>
    </a:custClr>
    <a:custClr name="Teal">
      <a:srgbClr val="00AEA1"/>
    </a:custClr>
    <a:custClr name="Blue">
      <a:srgbClr val="0071BB"/>
    </a:custClr>
    <a:custClr name="Green">
      <a:srgbClr val="00A253"/>
    </a:custClr>
    <a:custClr name="Purple">
      <a:srgbClr val="5736F7"/>
    </a:custClr>
    <a:custClr name="Orange">
      <a:srgbClr val="FC5027"/>
    </a:custClr>
    <a:custClr name="Yellow">
      <a:srgbClr val="FFFF51"/>
    </a:custClr>
    <a:custClr name="Error Red">
      <a:srgbClr val="EE0000"/>
    </a:custClr>
    <a:custClr name="Unused">
      <a:srgbClr val="FFFFFF"/>
    </a:custClr>
    <a:custClr name="Unused">
      <a:srgbClr val="FFFFFF"/>
    </a:custClr>
    <a:custClr name="Unused">
      <a:srgbClr val="FFFFFF"/>
    </a:custClr>
    <a:custClr name="Teal Tint">
      <a:srgbClr val="B4FBF6"/>
    </a:custClr>
    <a:custClr name="Blue Tint">
      <a:srgbClr val="64BAF3"/>
    </a:custClr>
    <a:custClr name="Green Tint">
      <a:srgbClr val="5CFFAF"/>
    </a:custClr>
    <a:custClr name="Purple Tint">
      <a:srgbClr val="9999FC"/>
    </a:custClr>
    <a:custClr name="Orange Tint">
      <a:srgbClr val="FFAE9B"/>
    </a:custClr>
    <a:custClr name="Unused">
      <a:srgbClr val="FFFFFF"/>
    </a:custClr>
    <a:custClr name="Unused">
      <a:srgbClr val="FFFFFF"/>
    </a:custClr>
    <a:custClr name="Unused">
      <a:srgbClr val="FFFFFF"/>
    </a:custClr>
    <a:custClr name="Unused">
      <a:srgbClr val="FFFFFF"/>
    </a:custClr>
    <a:custClr name="Unused">
      <a:srgbClr val="FFFFFF"/>
    </a:custClr>
  </a:custClrLst>
  <a:extLst>
    <a:ext uri="{05A4C25C-085E-4340-85A3-A5531E510DB2}">
      <thm15:themeFamily xmlns:thm15="http://schemas.microsoft.com/office/thememl/2012/main" name="ab1-projection-16x9-glg-102620.potx" id="{A7BE06B2-6FED-4FCA-A6F4-D6CB8F378E13}" vid="{32991D70-6799-4A8D-97DF-5DD12E4058B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dvisory Board 2019">
    <a:dk1>
      <a:srgbClr val="323E48"/>
    </a:dk1>
    <a:lt1>
      <a:srgbClr val="FFFFFF"/>
    </a:lt1>
    <a:dk2>
      <a:srgbClr val="FFFFFF"/>
    </a:dk2>
    <a:lt2>
      <a:srgbClr val="E4E5E5"/>
    </a:lt2>
    <a:accent1>
      <a:srgbClr val="CCCCCC"/>
    </a:accent1>
    <a:accent2>
      <a:srgbClr val="9E9E9E"/>
    </a:accent2>
    <a:accent3>
      <a:srgbClr val="757576"/>
    </a:accent3>
    <a:accent4>
      <a:srgbClr val="323E48"/>
    </a:accent4>
    <a:accent5>
      <a:srgbClr val="151D25"/>
    </a:accent5>
    <a:accent6>
      <a:srgbClr val="CE0E2D"/>
    </a:accent6>
    <a:hlink>
      <a:srgbClr val="CE0E2D"/>
    </a:hlink>
    <a:folHlink>
      <a:srgbClr val="9E9E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8D76141FD36E428A89D151CA86013F" ma:contentTypeVersion="18" ma:contentTypeDescription="Create a new document." ma:contentTypeScope="" ma:versionID="153f65f7209a2ed0ff07894cc7885ab7">
  <xsd:schema xmlns:xsd="http://www.w3.org/2001/XMLSchema" xmlns:xs="http://www.w3.org/2001/XMLSchema" xmlns:p="http://schemas.microsoft.com/office/2006/metadata/properties" xmlns:ns2="c61fa159-9865-42de-ac01-9eda4a835084" xmlns:ns3="476cd994-05a9-49a7-bbf4-fedb1b985c49" targetNamespace="http://schemas.microsoft.com/office/2006/metadata/properties" ma:root="true" ma:fieldsID="e2f7f0d7d2efb7e734aa8eace3acffdb" ns2:_="" ns3:_="">
    <xsd:import namespace="c61fa159-9865-42de-ac01-9eda4a835084"/>
    <xsd:import namespace="476cd994-05a9-49a7-bbf4-fedb1b985c4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Comment"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1fa159-9865-42de-ac01-9eda4a8350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 ma:index="20" nillable="true" ma:displayName="Comment" ma:format="Dropdown" ma:internalName="Comment">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76cd994-05a9-49a7-bbf4-fedb1b985c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b185c6d2-fcc6-46ab-8d33-4b7cb9bbc117}" ma:internalName="TaxCatchAll" ma:showField="CatchAllData" ma:web="476cd994-05a9-49a7-bbf4-fedb1b985c4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mment xmlns="c61fa159-9865-42de-ac01-9eda4a835084" xsi:nil="true"/>
    <lcf76f155ced4ddcb4097134ff3c332f xmlns="c61fa159-9865-42de-ac01-9eda4a835084">
      <Terms xmlns="http://schemas.microsoft.com/office/infopath/2007/PartnerControls"/>
    </lcf76f155ced4ddcb4097134ff3c332f>
    <TaxCatchAll xmlns="476cd994-05a9-49a7-bbf4-fedb1b985c49" xsi:nil="true"/>
    <SharedWithUsers xmlns="476cd994-05a9-49a7-bbf4-fedb1b985c49">
      <UserInfo>
        <DisplayName>Angers, Jordan</DisplayName>
        <AccountId>120</AccountId>
        <AccountType/>
      </UserInfo>
    </SharedWithUsers>
  </documentManagement>
</p:properties>
</file>

<file path=customXml/itemProps1.xml><?xml version="1.0" encoding="utf-8"?>
<ds:datastoreItem xmlns:ds="http://schemas.openxmlformats.org/officeDocument/2006/customXml" ds:itemID="{04B674B2-448F-4BE1-BA05-AF7634018FAD}">
  <ds:schemaRefs>
    <ds:schemaRef ds:uri="476cd994-05a9-49a7-bbf4-fedb1b985c49"/>
    <ds:schemaRef ds:uri="c61fa159-9865-42de-ac01-9eda4a83508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778E7CD-0939-4AC1-868D-9DE704CADB56}">
  <ds:schemaRefs>
    <ds:schemaRef ds:uri="http://schemas.microsoft.com/sharepoint/v3/contenttype/forms"/>
  </ds:schemaRefs>
</ds:datastoreItem>
</file>

<file path=customXml/itemProps3.xml><?xml version="1.0" encoding="utf-8"?>
<ds:datastoreItem xmlns:ds="http://schemas.openxmlformats.org/officeDocument/2006/customXml" ds:itemID="{A4051FCE-33E5-467D-8FA6-B65255BB2B84}">
  <ds:schemaRefs>
    <ds:schemaRef ds:uri="11b531f2-ce73-41b2-ac80-4d7b57efe614"/>
    <ds:schemaRef ds:uri="16683234-86c0-4c11-96ea-fe27a2955205"/>
    <ds:schemaRef ds:uri="476cd994-05a9-49a7-bbf4-fedb1b985c49"/>
    <ds:schemaRef ds:uri="c61fa159-9865-42de-ac01-9eda4a83508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471</TotalTime>
  <Words>5701</Words>
  <Application>Microsoft Office PowerPoint</Application>
  <PresentationFormat>Widescreen</PresentationFormat>
  <Paragraphs>388</Paragraphs>
  <Slides>24</Slides>
  <Notes>24</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24</vt:i4>
      </vt:variant>
    </vt:vector>
  </HeadingPairs>
  <TitlesOfParts>
    <vt:vector size="31" baseType="lpstr">
      <vt:lpstr>Arial</vt:lpstr>
      <vt:lpstr>Calibri</vt:lpstr>
      <vt:lpstr>Franklin Gothic Book</vt:lpstr>
      <vt:lpstr>Times New Roman</vt:lpstr>
      <vt:lpstr>Wingdings</vt:lpstr>
      <vt:lpstr>ab1 projection 16x9</vt:lpstr>
      <vt:lpstr>1_ab1 projection 16x9</vt:lpstr>
      <vt:lpstr>Digital inequity 101</vt:lpstr>
      <vt:lpstr>What is digital inequity?</vt:lpstr>
      <vt:lpstr>Why we aren’t talking about the “digital divide”</vt:lpstr>
      <vt:lpstr>Structural forces have led to current digital inequities </vt:lpstr>
      <vt:lpstr>Covid-19 exacerbates impact of existing inequities </vt:lpstr>
      <vt:lpstr>Digital transformation is a top health care priority… </vt:lpstr>
      <vt:lpstr>…but digital inequities mean patients are left behind  </vt:lpstr>
      <vt:lpstr>Access is a foundational issue </vt:lpstr>
      <vt:lpstr>Broadband divide is everywhere, not just rural areas</vt:lpstr>
      <vt:lpstr>Why isn’t cellular a cure-all? Affordability </vt:lpstr>
      <vt:lpstr>Biden calls to revitalize digital infrastructure</vt:lpstr>
      <vt:lpstr>Without adoption, access is moot</vt:lpstr>
      <vt:lpstr>Tech is foundational, but literacy is a true limiting step</vt:lpstr>
      <vt:lpstr>Digital literacy and digital health literacy are intertwined</vt:lpstr>
      <vt:lpstr>English proficiency exacerbates digital illiteracy </vt:lpstr>
      <vt:lpstr>Virtual care was not designed for non-English speakers</vt:lpstr>
      <vt:lpstr>Google Translate is not enough </vt:lpstr>
      <vt:lpstr>Digital accessibility extends beyond language</vt:lpstr>
      <vt:lpstr>Digital inequity is a cyclical issue</vt:lpstr>
      <vt:lpstr>Taking the first step to uncover digital inequities</vt:lpstr>
      <vt:lpstr>Collect patient data to clarify who lacks acces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areh</dc:creator>
  <cp:lastModifiedBy>Adams, Alison</cp:lastModifiedBy>
  <cp:revision>21</cp:revision>
  <cp:lastPrinted>2021-05-25T18:56:12Z</cp:lastPrinted>
  <dcterms:created xsi:type="dcterms:W3CDTF">2021-04-27T16:20:49Z</dcterms:created>
  <dcterms:modified xsi:type="dcterms:W3CDTF">2022-12-15T22:0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8D76141FD36E428A89D151CA86013F</vt:lpwstr>
  </property>
  <property fmtid="{D5CDD505-2E9C-101B-9397-08002B2CF9AE}" pid="3" name="MSIP_Label_a8a73c85-e524-44a6-bd58-7df7ef87be8f_Enabled">
    <vt:lpwstr>true</vt:lpwstr>
  </property>
  <property fmtid="{D5CDD505-2E9C-101B-9397-08002B2CF9AE}" pid="4" name="MSIP_Label_a8a73c85-e524-44a6-bd58-7df7ef87be8f_Name">
    <vt:lpwstr>Internal Label</vt:lpwstr>
  </property>
  <property fmtid="{D5CDD505-2E9C-101B-9397-08002B2CF9AE}" pid="5" name="MSIP_Label_a8a73c85-e524-44a6-bd58-7df7ef87be8f_SiteId">
    <vt:lpwstr>db05faca-c82a-4b9d-b9c5-0f64b6755421</vt:lpwstr>
  </property>
  <property fmtid="{D5CDD505-2E9C-101B-9397-08002B2CF9AE}" pid="6" name="MSIP_Label_a8a73c85-e524-44a6-bd58-7df7ef87be8f_ContentBits">
    <vt:lpwstr>0</vt:lpwstr>
  </property>
  <property fmtid="{D5CDD505-2E9C-101B-9397-08002B2CF9AE}" pid="7" name="MediaServiceImageTags">
    <vt:lpwstr/>
  </property>
  <property fmtid="{D5CDD505-2E9C-101B-9397-08002B2CF9AE}" pid="8" name="MSIP_Label_a8a73c85-e524-44a6-bd58-7df7ef87be8f_Method">
    <vt:lpwstr>Privileged</vt:lpwstr>
  </property>
  <property fmtid="{D5CDD505-2E9C-101B-9397-08002B2CF9AE}" pid="9" name="MSIP_Label_a8a73c85-e524-44a6-bd58-7df7ef87be8f_ActionId">
    <vt:lpwstr>4b36ff96-8ea7-4b1d-93d7-1484c5907670</vt:lpwstr>
  </property>
  <property fmtid="{D5CDD505-2E9C-101B-9397-08002B2CF9AE}" pid="10" name="MSIP_Label_a8a73c85-e524-44a6-bd58-7df7ef87be8f_SetDate">
    <vt:lpwstr>2022-11-02T20:17:55Z</vt:lpwstr>
  </property>
</Properties>
</file>